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92" r:id="rId4"/>
  </p:sldMasterIdLst>
  <p:notesMasterIdLst>
    <p:notesMasterId r:id="rId6"/>
  </p:notesMasterIdLst>
  <p:sldIdLst>
    <p:sldId id="475" r:id="rId5"/>
  </p:sldIdLst>
  <p:sldSz cx="9144000" cy="5143500" type="screen16x9"/>
  <p:notesSz cx="6858000" cy="9144000"/>
  <p:defaultTextStyle>
    <a:defPPr>
      <a:defRPr lang="en-US"/>
    </a:defPPr>
    <a:lvl1pPr marL="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23B"/>
    <a:srgbClr val="009933"/>
    <a:srgbClr val="FF6666"/>
    <a:srgbClr val="F8FBFC"/>
    <a:srgbClr val="0B64A0"/>
    <a:srgbClr val="FFFFFF"/>
    <a:srgbClr val="000000"/>
    <a:srgbClr val="0070C0"/>
    <a:srgbClr val="B9BAB5"/>
    <a:srgbClr val="FFC7C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8FB837D-C827-4EFA-A057-4D05807E0F7C}" styleName="Style à thème 1 - Accentuation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2623" autoAdjust="0"/>
    <p:restoredTop sz="96240" autoAdjust="0"/>
  </p:normalViewPr>
  <p:slideViewPr>
    <p:cSldViewPr snapToGrid="0" showGuides="1">
      <p:cViewPr varScale="1">
        <p:scale>
          <a:sx n="146" d="100"/>
          <a:sy n="146" d="100"/>
        </p:scale>
        <p:origin x="240" y="12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microsoft.com/office/2016/11/relationships/changesInfo" Target="changesInfos/changesInfo1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ngeot, Christel" userId="a4eb1df8-720b-4591-87f9-5d93097d0068" providerId="ADAL" clId="{CD920679-06CA-41FA-99C1-80B69E87DEDB}"/>
    <pc:docChg chg="undo custSel addSld delSld delMainMaster">
      <pc:chgData name="Mangeot, Christel" userId="a4eb1df8-720b-4591-87f9-5d93097d0068" providerId="ADAL" clId="{CD920679-06CA-41FA-99C1-80B69E87DEDB}" dt="2026-02-19T07:18:00.226" v="2" actId="47"/>
      <pc:docMkLst>
        <pc:docMk/>
      </pc:docMkLst>
      <pc:sldChg chg="del">
        <pc:chgData name="Mangeot, Christel" userId="a4eb1df8-720b-4591-87f9-5d93097d0068" providerId="ADAL" clId="{CD920679-06CA-41FA-99C1-80B69E87DEDB}" dt="2026-02-19T07:17:58.292" v="0" actId="47"/>
        <pc:sldMkLst>
          <pc:docMk/>
          <pc:sldMk cId="981727655" sldId="471"/>
        </pc:sldMkLst>
      </pc:sldChg>
      <pc:sldChg chg="add del">
        <pc:chgData name="Mangeot, Christel" userId="a4eb1df8-720b-4591-87f9-5d93097d0068" providerId="ADAL" clId="{CD920679-06CA-41FA-99C1-80B69E87DEDB}" dt="2026-02-19T07:18:00.226" v="2" actId="47"/>
        <pc:sldMkLst>
          <pc:docMk/>
          <pc:sldMk cId="819134408" sldId="475"/>
        </pc:sldMkLst>
      </pc:sldChg>
      <pc:sldMasterChg chg="addSldLayout delSldLayout">
        <pc:chgData name="Mangeot, Christel" userId="a4eb1df8-720b-4591-87f9-5d93097d0068" providerId="ADAL" clId="{CD920679-06CA-41FA-99C1-80B69E87DEDB}" dt="2026-02-19T07:18:00.226" v="2" actId="47"/>
        <pc:sldMasterMkLst>
          <pc:docMk/>
          <pc:sldMasterMk cId="636471730" sldId="2147483792"/>
        </pc:sldMasterMkLst>
        <pc:sldLayoutChg chg="add del">
          <pc:chgData name="Mangeot, Christel" userId="a4eb1df8-720b-4591-87f9-5d93097d0068" providerId="ADAL" clId="{CD920679-06CA-41FA-99C1-80B69E87DEDB}" dt="2026-02-19T07:18:00.226" v="2" actId="47"/>
          <pc:sldLayoutMkLst>
            <pc:docMk/>
            <pc:sldMasterMk cId="636471730" sldId="2147483792"/>
            <pc:sldLayoutMk cId="2266241225" sldId="2147483823"/>
          </pc:sldLayoutMkLst>
        </pc:sldLayoutChg>
      </pc:sldMasterChg>
      <pc:sldMasterChg chg="del delSldLayout">
        <pc:chgData name="Mangeot, Christel" userId="a4eb1df8-720b-4591-87f9-5d93097d0068" providerId="ADAL" clId="{CD920679-06CA-41FA-99C1-80B69E87DEDB}" dt="2026-02-19T07:17:58.292" v="0" actId="47"/>
        <pc:sldMasterMkLst>
          <pc:docMk/>
          <pc:sldMasterMk cId="2340872739" sldId="2147483824"/>
        </pc:sldMasterMkLst>
        <pc:sldLayoutChg chg="del">
          <pc:chgData name="Mangeot, Christel" userId="a4eb1df8-720b-4591-87f9-5d93097d0068" providerId="ADAL" clId="{CD920679-06CA-41FA-99C1-80B69E87DEDB}" dt="2026-02-19T07:17:58.292" v="0" actId="47"/>
          <pc:sldLayoutMkLst>
            <pc:docMk/>
            <pc:sldMasterMk cId="2340872739" sldId="2147483824"/>
            <pc:sldLayoutMk cId="2523484552" sldId="2147483825"/>
          </pc:sldLayoutMkLst>
        </pc:sldLayoutChg>
        <pc:sldLayoutChg chg="del">
          <pc:chgData name="Mangeot, Christel" userId="a4eb1df8-720b-4591-87f9-5d93097d0068" providerId="ADAL" clId="{CD920679-06CA-41FA-99C1-80B69E87DEDB}" dt="2026-02-19T07:17:58.292" v="0" actId="47"/>
          <pc:sldLayoutMkLst>
            <pc:docMk/>
            <pc:sldMasterMk cId="2340872739" sldId="2147483824"/>
            <pc:sldLayoutMk cId="510505220" sldId="2147483826"/>
          </pc:sldLayoutMkLst>
        </pc:sldLayoutChg>
        <pc:sldLayoutChg chg="del">
          <pc:chgData name="Mangeot, Christel" userId="a4eb1df8-720b-4591-87f9-5d93097d0068" providerId="ADAL" clId="{CD920679-06CA-41FA-99C1-80B69E87DEDB}" dt="2026-02-19T07:17:58.292" v="0" actId="47"/>
          <pc:sldLayoutMkLst>
            <pc:docMk/>
            <pc:sldMasterMk cId="2340872739" sldId="2147483824"/>
            <pc:sldLayoutMk cId="167321012" sldId="2147483827"/>
          </pc:sldLayoutMkLst>
        </pc:sldLayoutChg>
        <pc:sldLayoutChg chg="del">
          <pc:chgData name="Mangeot, Christel" userId="a4eb1df8-720b-4591-87f9-5d93097d0068" providerId="ADAL" clId="{CD920679-06CA-41FA-99C1-80B69E87DEDB}" dt="2026-02-19T07:17:58.292" v="0" actId="47"/>
          <pc:sldLayoutMkLst>
            <pc:docMk/>
            <pc:sldMasterMk cId="2340872739" sldId="2147483824"/>
            <pc:sldLayoutMk cId="2337523606" sldId="2147483828"/>
          </pc:sldLayoutMkLst>
        </pc:sldLayoutChg>
        <pc:sldLayoutChg chg="del">
          <pc:chgData name="Mangeot, Christel" userId="a4eb1df8-720b-4591-87f9-5d93097d0068" providerId="ADAL" clId="{CD920679-06CA-41FA-99C1-80B69E87DEDB}" dt="2026-02-19T07:17:58.292" v="0" actId="47"/>
          <pc:sldLayoutMkLst>
            <pc:docMk/>
            <pc:sldMasterMk cId="2340872739" sldId="2147483824"/>
            <pc:sldLayoutMk cId="4090930527" sldId="2147483829"/>
          </pc:sldLayoutMkLst>
        </pc:sldLayoutChg>
        <pc:sldLayoutChg chg="del">
          <pc:chgData name="Mangeot, Christel" userId="a4eb1df8-720b-4591-87f9-5d93097d0068" providerId="ADAL" clId="{CD920679-06CA-41FA-99C1-80B69E87DEDB}" dt="2026-02-19T07:17:58.292" v="0" actId="47"/>
          <pc:sldLayoutMkLst>
            <pc:docMk/>
            <pc:sldMasterMk cId="2340872739" sldId="2147483824"/>
            <pc:sldLayoutMk cId="4083485758" sldId="2147483830"/>
          </pc:sldLayoutMkLst>
        </pc:sldLayoutChg>
        <pc:sldLayoutChg chg="del">
          <pc:chgData name="Mangeot, Christel" userId="a4eb1df8-720b-4591-87f9-5d93097d0068" providerId="ADAL" clId="{CD920679-06CA-41FA-99C1-80B69E87DEDB}" dt="2026-02-19T07:17:58.292" v="0" actId="47"/>
          <pc:sldLayoutMkLst>
            <pc:docMk/>
            <pc:sldMasterMk cId="2340872739" sldId="2147483824"/>
            <pc:sldLayoutMk cId="1120592720" sldId="2147483831"/>
          </pc:sldLayoutMkLst>
        </pc:sldLayoutChg>
        <pc:sldLayoutChg chg="del">
          <pc:chgData name="Mangeot, Christel" userId="a4eb1df8-720b-4591-87f9-5d93097d0068" providerId="ADAL" clId="{CD920679-06CA-41FA-99C1-80B69E87DEDB}" dt="2026-02-19T07:17:58.292" v="0" actId="47"/>
          <pc:sldLayoutMkLst>
            <pc:docMk/>
            <pc:sldMasterMk cId="2340872739" sldId="2147483824"/>
            <pc:sldLayoutMk cId="3174136906" sldId="2147483832"/>
          </pc:sldLayoutMkLst>
        </pc:sldLayoutChg>
        <pc:sldLayoutChg chg="del">
          <pc:chgData name="Mangeot, Christel" userId="a4eb1df8-720b-4591-87f9-5d93097d0068" providerId="ADAL" clId="{CD920679-06CA-41FA-99C1-80B69E87DEDB}" dt="2026-02-19T07:17:58.292" v="0" actId="47"/>
          <pc:sldLayoutMkLst>
            <pc:docMk/>
            <pc:sldMasterMk cId="2340872739" sldId="2147483824"/>
            <pc:sldLayoutMk cId="778524792" sldId="2147483833"/>
          </pc:sldLayoutMkLst>
        </pc:sldLayoutChg>
        <pc:sldLayoutChg chg="del">
          <pc:chgData name="Mangeot, Christel" userId="a4eb1df8-720b-4591-87f9-5d93097d0068" providerId="ADAL" clId="{CD920679-06CA-41FA-99C1-80B69E87DEDB}" dt="2026-02-19T07:17:58.292" v="0" actId="47"/>
          <pc:sldLayoutMkLst>
            <pc:docMk/>
            <pc:sldMasterMk cId="2340872739" sldId="2147483824"/>
            <pc:sldLayoutMk cId="3152040887" sldId="2147483834"/>
          </pc:sldLayoutMkLst>
        </pc:sldLayoutChg>
        <pc:sldLayoutChg chg="del">
          <pc:chgData name="Mangeot, Christel" userId="a4eb1df8-720b-4591-87f9-5d93097d0068" providerId="ADAL" clId="{CD920679-06CA-41FA-99C1-80B69E87DEDB}" dt="2026-02-19T07:17:58.292" v="0" actId="47"/>
          <pc:sldLayoutMkLst>
            <pc:docMk/>
            <pc:sldMasterMk cId="2340872739" sldId="2147483824"/>
            <pc:sldLayoutMk cId="3372248737" sldId="2147483835"/>
          </pc:sldLayoutMkLst>
        </pc:sldLayoutChg>
        <pc:sldLayoutChg chg="del">
          <pc:chgData name="Mangeot, Christel" userId="a4eb1df8-720b-4591-87f9-5d93097d0068" providerId="ADAL" clId="{CD920679-06CA-41FA-99C1-80B69E87DEDB}" dt="2026-02-19T07:17:58.292" v="0" actId="47"/>
          <pc:sldLayoutMkLst>
            <pc:docMk/>
            <pc:sldMasterMk cId="2340872739" sldId="2147483824"/>
            <pc:sldLayoutMk cId="1571419158" sldId="2147483836"/>
          </pc:sldLayoutMkLst>
        </pc:sldLayoutChg>
        <pc:sldLayoutChg chg="del">
          <pc:chgData name="Mangeot, Christel" userId="a4eb1df8-720b-4591-87f9-5d93097d0068" providerId="ADAL" clId="{CD920679-06CA-41FA-99C1-80B69E87DEDB}" dt="2026-02-19T07:17:58.292" v="0" actId="47"/>
          <pc:sldLayoutMkLst>
            <pc:docMk/>
            <pc:sldMasterMk cId="2340872739" sldId="2147483824"/>
            <pc:sldLayoutMk cId="2039161633" sldId="2147483837"/>
          </pc:sldLayoutMkLst>
        </pc:sldLayoutChg>
        <pc:sldLayoutChg chg="del">
          <pc:chgData name="Mangeot, Christel" userId="a4eb1df8-720b-4591-87f9-5d93097d0068" providerId="ADAL" clId="{CD920679-06CA-41FA-99C1-80B69E87DEDB}" dt="2026-02-19T07:17:58.292" v="0" actId="47"/>
          <pc:sldLayoutMkLst>
            <pc:docMk/>
            <pc:sldMasterMk cId="2340872739" sldId="2147483824"/>
            <pc:sldLayoutMk cId="402443407" sldId="2147483838"/>
          </pc:sldLayoutMkLst>
        </pc:sldLayoutChg>
        <pc:sldLayoutChg chg="del">
          <pc:chgData name="Mangeot, Christel" userId="a4eb1df8-720b-4591-87f9-5d93097d0068" providerId="ADAL" clId="{CD920679-06CA-41FA-99C1-80B69E87DEDB}" dt="2026-02-19T07:17:58.292" v="0" actId="47"/>
          <pc:sldLayoutMkLst>
            <pc:docMk/>
            <pc:sldMasterMk cId="2340872739" sldId="2147483824"/>
            <pc:sldLayoutMk cId="3131071514" sldId="2147483839"/>
          </pc:sldLayoutMkLst>
        </pc:sldLayoutChg>
        <pc:sldLayoutChg chg="del">
          <pc:chgData name="Mangeot, Christel" userId="a4eb1df8-720b-4591-87f9-5d93097d0068" providerId="ADAL" clId="{CD920679-06CA-41FA-99C1-80B69E87DEDB}" dt="2026-02-19T07:17:58.292" v="0" actId="47"/>
          <pc:sldLayoutMkLst>
            <pc:docMk/>
            <pc:sldMasterMk cId="2340872739" sldId="2147483824"/>
            <pc:sldLayoutMk cId="1156908319" sldId="2147483840"/>
          </pc:sldLayoutMkLst>
        </pc:sldLayoutChg>
        <pc:sldLayoutChg chg="del">
          <pc:chgData name="Mangeot, Christel" userId="a4eb1df8-720b-4591-87f9-5d93097d0068" providerId="ADAL" clId="{CD920679-06CA-41FA-99C1-80B69E87DEDB}" dt="2026-02-19T07:17:58.292" v="0" actId="47"/>
          <pc:sldLayoutMkLst>
            <pc:docMk/>
            <pc:sldMasterMk cId="2340872739" sldId="2147483824"/>
            <pc:sldLayoutMk cId="2969148841" sldId="2147483841"/>
          </pc:sldLayoutMkLst>
        </pc:sldLayoutChg>
        <pc:sldLayoutChg chg="del">
          <pc:chgData name="Mangeot, Christel" userId="a4eb1df8-720b-4591-87f9-5d93097d0068" providerId="ADAL" clId="{CD920679-06CA-41FA-99C1-80B69E87DEDB}" dt="2026-02-19T07:17:58.292" v="0" actId="47"/>
          <pc:sldLayoutMkLst>
            <pc:docMk/>
            <pc:sldMasterMk cId="2340872739" sldId="2147483824"/>
            <pc:sldLayoutMk cId="2968896423" sldId="2147483842"/>
          </pc:sldLayoutMkLst>
        </pc:sldLayoutChg>
        <pc:sldLayoutChg chg="del">
          <pc:chgData name="Mangeot, Christel" userId="a4eb1df8-720b-4591-87f9-5d93097d0068" providerId="ADAL" clId="{CD920679-06CA-41FA-99C1-80B69E87DEDB}" dt="2026-02-19T07:17:58.292" v="0" actId="47"/>
          <pc:sldLayoutMkLst>
            <pc:docMk/>
            <pc:sldMasterMk cId="2340872739" sldId="2147483824"/>
            <pc:sldLayoutMk cId="3430877252" sldId="2147483843"/>
          </pc:sldLayoutMkLst>
        </pc:sldLayoutChg>
        <pc:sldLayoutChg chg="del">
          <pc:chgData name="Mangeot, Christel" userId="a4eb1df8-720b-4591-87f9-5d93097d0068" providerId="ADAL" clId="{CD920679-06CA-41FA-99C1-80B69E87DEDB}" dt="2026-02-19T07:17:58.292" v="0" actId="47"/>
          <pc:sldLayoutMkLst>
            <pc:docMk/>
            <pc:sldMasterMk cId="2340872739" sldId="2147483824"/>
            <pc:sldLayoutMk cId="1349378945" sldId="2147483844"/>
          </pc:sldLayoutMkLst>
        </pc:sldLayoutChg>
        <pc:sldLayoutChg chg="del">
          <pc:chgData name="Mangeot, Christel" userId="a4eb1df8-720b-4591-87f9-5d93097d0068" providerId="ADAL" clId="{CD920679-06CA-41FA-99C1-80B69E87DEDB}" dt="2026-02-19T07:17:58.292" v="0" actId="47"/>
          <pc:sldLayoutMkLst>
            <pc:docMk/>
            <pc:sldMasterMk cId="2340872739" sldId="2147483824"/>
            <pc:sldLayoutMk cId="546390037" sldId="2147483845"/>
          </pc:sldLayoutMkLst>
        </pc:sldLayoutChg>
        <pc:sldLayoutChg chg="del">
          <pc:chgData name="Mangeot, Christel" userId="a4eb1df8-720b-4591-87f9-5d93097d0068" providerId="ADAL" clId="{CD920679-06CA-41FA-99C1-80B69E87DEDB}" dt="2026-02-19T07:17:58.292" v="0" actId="47"/>
          <pc:sldLayoutMkLst>
            <pc:docMk/>
            <pc:sldMasterMk cId="2340872739" sldId="2147483824"/>
            <pc:sldLayoutMk cId="2515692721" sldId="2147483846"/>
          </pc:sldLayoutMkLst>
        </pc:sldLayoutChg>
        <pc:sldLayoutChg chg="del">
          <pc:chgData name="Mangeot, Christel" userId="a4eb1df8-720b-4591-87f9-5d93097d0068" providerId="ADAL" clId="{CD920679-06CA-41FA-99C1-80B69E87DEDB}" dt="2026-02-19T07:17:58.292" v="0" actId="47"/>
          <pc:sldLayoutMkLst>
            <pc:docMk/>
            <pc:sldMasterMk cId="2340872739" sldId="2147483824"/>
            <pc:sldLayoutMk cId="1364309256" sldId="2147483847"/>
          </pc:sldLayoutMkLst>
        </pc:sldLayoutChg>
        <pc:sldLayoutChg chg="del">
          <pc:chgData name="Mangeot, Christel" userId="a4eb1df8-720b-4591-87f9-5d93097d0068" providerId="ADAL" clId="{CD920679-06CA-41FA-99C1-80B69E87DEDB}" dt="2026-02-19T07:17:58.292" v="0" actId="47"/>
          <pc:sldLayoutMkLst>
            <pc:docMk/>
            <pc:sldMasterMk cId="2340872739" sldId="2147483824"/>
            <pc:sldLayoutMk cId="1003297966" sldId="2147483848"/>
          </pc:sldLayoutMkLst>
        </pc:sldLayoutChg>
        <pc:sldLayoutChg chg="del">
          <pc:chgData name="Mangeot, Christel" userId="a4eb1df8-720b-4591-87f9-5d93097d0068" providerId="ADAL" clId="{CD920679-06CA-41FA-99C1-80B69E87DEDB}" dt="2026-02-19T07:17:58.292" v="0" actId="47"/>
          <pc:sldLayoutMkLst>
            <pc:docMk/>
            <pc:sldMasterMk cId="2340872739" sldId="2147483824"/>
            <pc:sldLayoutMk cId="3105306420" sldId="2147483849"/>
          </pc:sldLayoutMkLst>
        </pc:sldLayoutChg>
        <pc:sldLayoutChg chg="del">
          <pc:chgData name="Mangeot, Christel" userId="a4eb1df8-720b-4591-87f9-5d93097d0068" providerId="ADAL" clId="{CD920679-06CA-41FA-99C1-80B69E87DEDB}" dt="2026-02-19T07:17:58.292" v="0" actId="47"/>
          <pc:sldLayoutMkLst>
            <pc:docMk/>
            <pc:sldMasterMk cId="2340872739" sldId="2147483824"/>
            <pc:sldLayoutMk cId="210327960" sldId="2147483850"/>
          </pc:sldLayoutMkLst>
        </pc:sldLayoutChg>
        <pc:sldLayoutChg chg="del">
          <pc:chgData name="Mangeot, Christel" userId="a4eb1df8-720b-4591-87f9-5d93097d0068" providerId="ADAL" clId="{CD920679-06CA-41FA-99C1-80B69E87DEDB}" dt="2026-02-19T07:17:58.292" v="0" actId="47"/>
          <pc:sldLayoutMkLst>
            <pc:docMk/>
            <pc:sldMasterMk cId="2340872739" sldId="2147483824"/>
            <pc:sldLayoutMk cId="2074270990" sldId="2147483851"/>
          </pc:sldLayoutMkLst>
        </pc:sldLayoutChg>
        <pc:sldLayoutChg chg="del">
          <pc:chgData name="Mangeot, Christel" userId="a4eb1df8-720b-4591-87f9-5d93097d0068" providerId="ADAL" clId="{CD920679-06CA-41FA-99C1-80B69E87DEDB}" dt="2026-02-19T07:17:58.292" v="0" actId="47"/>
          <pc:sldLayoutMkLst>
            <pc:docMk/>
            <pc:sldMasterMk cId="2340872739" sldId="2147483824"/>
            <pc:sldLayoutMk cId="1635478254" sldId="2147483852"/>
          </pc:sldLayoutMkLst>
        </pc:sldLayoutChg>
        <pc:sldLayoutChg chg="del">
          <pc:chgData name="Mangeot, Christel" userId="a4eb1df8-720b-4591-87f9-5d93097d0068" providerId="ADAL" clId="{CD920679-06CA-41FA-99C1-80B69E87DEDB}" dt="2026-02-19T07:17:58.292" v="0" actId="47"/>
          <pc:sldLayoutMkLst>
            <pc:docMk/>
            <pc:sldMasterMk cId="2340872739" sldId="2147483824"/>
            <pc:sldLayoutMk cId="2891007403" sldId="2147483853"/>
          </pc:sldLayoutMkLst>
        </pc:sldLayoutChg>
        <pc:sldLayoutChg chg="del">
          <pc:chgData name="Mangeot, Christel" userId="a4eb1df8-720b-4591-87f9-5d93097d0068" providerId="ADAL" clId="{CD920679-06CA-41FA-99C1-80B69E87DEDB}" dt="2026-02-19T07:17:58.292" v="0" actId="47"/>
          <pc:sldLayoutMkLst>
            <pc:docMk/>
            <pc:sldMasterMk cId="2340872739" sldId="2147483824"/>
            <pc:sldLayoutMk cId="2188734663" sldId="2147483854"/>
          </pc:sldLayoutMkLst>
        </pc:sldLayoutChg>
        <pc:sldLayoutChg chg="del">
          <pc:chgData name="Mangeot, Christel" userId="a4eb1df8-720b-4591-87f9-5d93097d0068" providerId="ADAL" clId="{CD920679-06CA-41FA-99C1-80B69E87DEDB}" dt="2026-02-19T07:17:58.292" v="0" actId="47"/>
          <pc:sldLayoutMkLst>
            <pc:docMk/>
            <pc:sldMasterMk cId="2340872739" sldId="2147483824"/>
            <pc:sldLayoutMk cId="20562236" sldId="2147483855"/>
          </pc:sldLayoutMkLst>
        </pc:sldLayoutChg>
        <pc:sldLayoutChg chg="del">
          <pc:chgData name="Mangeot, Christel" userId="a4eb1df8-720b-4591-87f9-5d93097d0068" providerId="ADAL" clId="{CD920679-06CA-41FA-99C1-80B69E87DEDB}" dt="2026-02-19T07:17:58.292" v="0" actId="47"/>
          <pc:sldLayoutMkLst>
            <pc:docMk/>
            <pc:sldMasterMk cId="2340872739" sldId="2147483824"/>
            <pc:sldLayoutMk cId="3057672252" sldId="2147483856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15FB2C-D0D5-49A9-98F1-925E2C0F6A9D}" type="datetimeFigureOut">
              <a:rPr lang="en-GB" smtClean="0"/>
              <a:t>19/02/202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AC812A-DEDA-4792-8F26-E53EDDBE7EB9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48300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pPr marL="0" marR="0" lvl="0" indent="0" algn="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B0049F-22A5-4C30-BCF0-212A88953238}" type="slidenum"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3429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67810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2167811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2167812" name="Espace réservé du pied de page 3"/>
          <p:cNvSpPr txBox="1">
            <a:spLocks noGrp="1"/>
          </p:cNvSpPr>
          <p:nvPr/>
        </p:nvSpPr>
        <p:spPr bwMode="auto">
          <a:xfrm>
            <a:off x="0" y="942975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marL="0" marR="0" lvl="0" indent="0" algn="l" defTabSz="3429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ité Support Sécurité ArcelorMittal Dunkerque</a:t>
            </a:r>
          </a:p>
        </p:txBody>
      </p:sp>
      <p:sp>
        <p:nvSpPr>
          <p:cNvPr id="2167813" name="Espace réservé du numéro de diapositive 4"/>
          <p:cNvSpPr txBox="1">
            <a:spLocks noGrp="1"/>
          </p:cNvSpPr>
          <p:nvPr/>
        </p:nvSpPr>
        <p:spPr bwMode="auto">
          <a:xfrm>
            <a:off x="3851275" y="942975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marL="0" marR="0" lvl="0" indent="0" algn="r" defTabSz="3429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6BDC2E-95FF-4989-8104-0874D3C45026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3429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686287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3" y="945000"/>
            <a:ext cx="8514009" cy="3078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°›</a:t>
            </a:fld>
            <a:endParaRPr dirty="0"/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DE65D08B-79C9-485D-A876-9F63BA201D06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6D7F194B-4125-45EA-9042-E9682F33786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9/02/2026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D9F456D-96F7-432C-BDF2-58A8B055AD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3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3" indent="0">
              <a:buNone/>
              <a:defRPr sz="450">
                <a:solidFill>
                  <a:schemeClr val="tx1"/>
                </a:solidFill>
              </a:defRPr>
            </a:lvl2pPr>
            <a:lvl3pPr marL="408374" indent="0">
              <a:buNone/>
              <a:defRPr sz="450">
                <a:solidFill>
                  <a:schemeClr val="tx1"/>
                </a:solidFill>
              </a:defRPr>
            </a:lvl3pPr>
            <a:lvl4pPr marL="608395" indent="0">
              <a:buNone/>
              <a:defRPr sz="450">
                <a:solidFill>
                  <a:schemeClr val="tx1"/>
                </a:solidFill>
              </a:defRPr>
            </a:lvl4pPr>
            <a:lvl5pPr marL="81198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586078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>
          <p15:clr>
            <a:srgbClr val="FBAE40"/>
          </p15:clr>
        </p15:guide>
        <p15:guide id="2" pos="5567">
          <p15:clr>
            <a:srgbClr val="FBAE40"/>
          </p15:clr>
        </p15:guide>
        <p15:guide id="3" orient="horz" pos="599">
          <p15:clr>
            <a:srgbClr val="FBAE40"/>
          </p15:clr>
        </p15:guide>
        <p15:guide id="4" orient="horz" pos="253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&amp;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102" y="270000"/>
            <a:ext cx="8514009" cy="513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5100" y="945000"/>
            <a:ext cx="4050000" cy="486000"/>
          </a:xfrm>
        </p:spPr>
        <p:txBody>
          <a:bodyPr/>
          <a:lstStyle>
            <a:lvl1pPr marL="563" indent="0">
              <a:buNone/>
              <a:defRPr sz="1400" b="1">
                <a:solidFill>
                  <a:schemeClr val="tx2"/>
                </a:solidFill>
              </a:defRPr>
            </a:lvl1pPr>
            <a:lvl2pPr marL="201398" indent="0">
              <a:buNone/>
              <a:defRPr sz="1050"/>
            </a:lvl2pPr>
            <a:lvl3pPr>
              <a:defRPr sz="825"/>
            </a:lvl3pPr>
            <a:lvl4pPr>
              <a:defRPr sz="825"/>
            </a:lvl4pPr>
            <a:lvl5pPr>
              <a:defRPr sz="825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1A6E24D0-F3C2-452A-832E-2C6DED5EB07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05103" y="1539000"/>
            <a:ext cx="4049687" cy="2916000"/>
          </a:xfrm>
        </p:spPr>
        <p:txBody>
          <a:bodyPr/>
          <a:lstStyle>
            <a:lvl1pPr marL="563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63C149B-0AE5-4517-8928-C3556769A76D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770000" y="945000"/>
            <a:ext cx="4050000" cy="486000"/>
          </a:xfrm>
        </p:spPr>
        <p:txBody>
          <a:bodyPr/>
          <a:lstStyle>
            <a:lvl1pPr marL="563" indent="0">
              <a:buNone/>
              <a:defRPr sz="1400" b="1">
                <a:solidFill>
                  <a:schemeClr val="tx2"/>
                </a:solidFill>
              </a:defRPr>
            </a:lvl1pPr>
            <a:lvl2pPr marL="201398" indent="0">
              <a:buNone/>
              <a:defRPr sz="1050"/>
            </a:lvl2pPr>
            <a:lvl3pPr>
              <a:defRPr sz="825"/>
            </a:lvl3pPr>
            <a:lvl4pPr>
              <a:defRPr sz="825"/>
            </a:lvl4pPr>
            <a:lvl5pPr>
              <a:defRPr sz="825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686F52B1-FDE3-4E14-9986-D219BFDBF5F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770316" y="1539000"/>
            <a:ext cx="4049687" cy="2916000"/>
          </a:xfrm>
        </p:spPr>
        <p:txBody>
          <a:bodyPr/>
          <a:lstStyle>
            <a:lvl1pPr marL="563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Rectangle 6">
            <a:extLst>
              <a:ext uri="{FF2B5EF4-FFF2-40B4-BE49-F238E27FC236}">
                <a16:creationId xmlns:a16="http://schemas.microsoft.com/office/drawing/2014/main" id="{C0269937-71BB-431E-9FD6-143D300E3E83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°›</a:t>
            </a:fld>
            <a:endParaRPr dirty="0"/>
          </a:p>
        </p:txBody>
      </p:sp>
      <p:sp>
        <p:nvSpPr>
          <p:cNvPr id="18" name="Rectangle 5">
            <a:extLst>
              <a:ext uri="{FF2B5EF4-FFF2-40B4-BE49-F238E27FC236}">
                <a16:creationId xmlns:a16="http://schemas.microsoft.com/office/drawing/2014/main" id="{54D18F0B-AD1B-4280-9391-E43F6EE6E206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F61CD0A1-F5EF-454F-91DF-8A01F4A3E72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9/02/2026</a:t>
            </a:fld>
            <a:endParaRPr lang="en-GB" dirty="0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1F8FFF5C-1BC2-8D4B-85B4-42B048AB0E8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3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3" indent="0">
              <a:buNone/>
              <a:defRPr sz="450">
                <a:solidFill>
                  <a:schemeClr val="tx1"/>
                </a:solidFill>
              </a:defRPr>
            </a:lvl2pPr>
            <a:lvl3pPr marL="408374" indent="0">
              <a:buNone/>
              <a:defRPr sz="450">
                <a:solidFill>
                  <a:schemeClr val="tx1"/>
                </a:solidFill>
              </a:defRPr>
            </a:lvl3pPr>
            <a:lvl4pPr marL="608395" indent="0">
              <a:buNone/>
              <a:defRPr sz="450">
                <a:solidFill>
                  <a:schemeClr val="tx1"/>
                </a:solidFill>
              </a:defRPr>
            </a:lvl4pPr>
            <a:lvl5pPr marL="81198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839576AB-B6C8-0848-97E2-44017EC4E3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1" y="4573907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5477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>
          <p15:clr>
            <a:srgbClr val="FBAE40"/>
          </p15:clr>
        </p15:guide>
        <p15:guide id="2" orient="horz" pos="2811">
          <p15:clr>
            <a:srgbClr val="FBAE40"/>
          </p15:clr>
        </p15:guide>
        <p15:guide id="3" pos="193">
          <p15:clr>
            <a:srgbClr val="FBAE40"/>
          </p15:clr>
        </p15:guide>
        <p15:guide id="4" pos="5567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3" y="270000"/>
            <a:ext cx="8514009" cy="32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63C149B-0AE5-4517-8928-C3556769A76D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770000" y="945000"/>
            <a:ext cx="4050000" cy="486000"/>
          </a:xfrm>
        </p:spPr>
        <p:txBody>
          <a:bodyPr/>
          <a:lstStyle>
            <a:lvl1pPr marL="563" indent="0">
              <a:buNone/>
              <a:defRPr sz="1400" b="1">
                <a:solidFill>
                  <a:schemeClr val="bg2"/>
                </a:solidFill>
              </a:defRPr>
            </a:lvl1pPr>
            <a:lvl2pPr marL="201398" indent="0">
              <a:buNone/>
              <a:defRPr sz="1050"/>
            </a:lvl2pPr>
            <a:lvl3pPr>
              <a:defRPr sz="825"/>
            </a:lvl3pPr>
            <a:lvl4pPr>
              <a:defRPr sz="825"/>
            </a:lvl4pPr>
            <a:lvl5pPr>
              <a:defRPr sz="825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686F52B1-FDE3-4E14-9986-D219BFDBF5F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770316" y="1539000"/>
            <a:ext cx="4049687" cy="2916000"/>
          </a:xfrm>
        </p:spPr>
        <p:txBody>
          <a:bodyPr/>
          <a:lstStyle>
            <a:lvl1pPr marL="563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0C06F53-3CC1-4031-A3A6-25EFE8BFF45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05991" y="945000"/>
            <a:ext cx="4050000" cy="3510000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6">
            <a:extLst>
              <a:ext uri="{FF2B5EF4-FFF2-40B4-BE49-F238E27FC236}">
                <a16:creationId xmlns:a16="http://schemas.microsoft.com/office/drawing/2014/main" id="{DE3679C8-D7F6-42B6-A820-69300FFA830D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°›</a:t>
            </a:fld>
            <a:endParaRPr dirty="0"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C89FDE3E-96D4-4AD1-9713-69A9346A8087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4849DF84-F6E7-4FC4-BE68-958DE9AB19B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9/02/2026</a:t>
            </a:fld>
            <a:endParaRPr lang="en-GB" dirty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E09E86CD-F177-9C47-B9E0-ED1CACFA120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3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3" indent="0">
              <a:buNone/>
              <a:defRPr sz="450">
                <a:solidFill>
                  <a:schemeClr val="tx1"/>
                </a:solidFill>
              </a:defRPr>
            </a:lvl2pPr>
            <a:lvl3pPr marL="408374" indent="0">
              <a:buNone/>
              <a:defRPr sz="450">
                <a:solidFill>
                  <a:schemeClr val="tx1"/>
                </a:solidFill>
              </a:defRPr>
            </a:lvl3pPr>
            <a:lvl4pPr marL="608395" indent="0">
              <a:buNone/>
              <a:defRPr sz="450">
                <a:solidFill>
                  <a:schemeClr val="tx1"/>
                </a:solidFill>
              </a:defRPr>
            </a:lvl4pPr>
            <a:lvl5pPr marL="81198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65829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11">
          <p15:clr>
            <a:srgbClr val="FBAE40"/>
          </p15:clr>
        </p15:guide>
        <p15:guide id="2" orient="horz" pos="599">
          <p15:clr>
            <a:srgbClr val="FBAE40"/>
          </p15:clr>
        </p15:guide>
        <p15:guide id="3" pos="193">
          <p15:clr>
            <a:srgbClr val="FBAE40"/>
          </p15:clr>
        </p15:guide>
        <p15:guide id="4" pos="5567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3" y="270000"/>
            <a:ext cx="8514009" cy="51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63C149B-0AE5-4517-8928-C3556769A76D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770000" y="945000"/>
            <a:ext cx="4050000" cy="486000"/>
          </a:xfrm>
        </p:spPr>
        <p:txBody>
          <a:bodyPr/>
          <a:lstStyle>
            <a:lvl1pPr marL="563" indent="0">
              <a:buNone/>
              <a:defRPr sz="1400" b="1">
                <a:solidFill>
                  <a:schemeClr val="tx2"/>
                </a:solidFill>
              </a:defRPr>
            </a:lvl1pPr>
            <a:lvl2pPr marL="201398" indent="0">
              <a:buNone/>
              <a:defRPr sz="1050"/>
            </a:lvl2pPr>
            <a:lvl3pPr>
              <a:defRPr sz="825"/>
            </a:lvl3pPr>
            <a:lvl4pPr>
              <a:defRPr sz="825"/>
            </a:lvl4pPr>
            <a:lvl5pPr>
              <a:defRPr sz="825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686F52B1-FDE3-4E14-9986-D219BFDBF5F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770316" y="1539000"/>
            <a:ext cx="4049687" cy="2916000"/>
          </a:xfrm>
        </p:spPr>
        <p:txBody>
          <a:bodyPr/>
          <a:lstStyle>
            <a:lvl1pPr marL="563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Rectangle 6">
            <a:extLst>
              <a:ext uri="{FF2B5EF4-FFF2-40B4-BE49-F238E27FC236}">
                <a16:creationId xmlns:a16="http://schemas.microsoft.com/office/drawing/2014/main" id="{B9A679CA-26BE-4AEB-AE86-9549F8207E20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°›</a:t>
            </a:fld>
            <a:endParaRPr dirty="0"/>
          </a:p>
        </p:txBody>
      </p:sp>
      <p:sp>
        <p:nvSpPr>
          <p:cNvPr id="18" name="Rectangle 5">
            <a:extLst>
              <a:ext uri="{FF2B5EF4-FFF2-40B4-BE49-F238E27FC236}">
                <a16:creationId xmlns:a16="http://schemas.microsoft.com/office/drawing/2014/main" id="{D92FE2F2-12F1-48D8-B264-6B2C7808A9FF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676097A1-4426-4925-8ED0-37212128E6E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9/02/2026</a:t>
            </a:fld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90499720-C445-D94C-A2E8-033061F5E066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05991" y="945000"/>
            <a:ext cx="4050000" cy="3510000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1C93D6FB-A976-0D42-A7E1-B7FC0FEC77C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3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3" indent="0">
              <a:buNone/>
              <a:defRPr sz="450">
                <a:solidFill>
                  <a:schemeClr val="tx1"/>
                </a:solidFill>
              </a:defRPr>
            </a:lvl2pPr>
            <a:lvl3pPr marL="408374" indent="0">
              <a:buNone/>
              <a:defRPr sz="450">
                <a:solidFill>
                  <a:schemeClr val="tx1"/>
                </a:solidFill>
              </a:defRPr>
            </a:lvl3pPr>
            <a:lvl4pPr marL="608395" indent="0">
              <a:buNone/>
              <a:defRPr sz="450">
                <a:solidFill>
                  <a:schemeClr val="tx1"/>
                </a:solidFill>
              </a:defRPr>
            </a:lvl4pPr>
            <a:lvl5pPr marL="81198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D46ECE55-60D8-1D42-B1F2-A7147B7F662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1" y="4573907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80106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11">
          <p15:clr>
            <a:srgbClr val="FBAE40"/>
          </p15:clr>
        </p15:guide>
        <p15:guide id="2" orient="horz" pos="599">
          <p15:clr>
            <a:srgbClr val="FBAE40"/>
          </p15:clr>
        </p15:guide>
        <p15:guide id="3" pos="193">
          <p15:clr>
            <a:srgbClr val="FBAE40"/>
          </p15:clr>
        </p15:guide>
        <p15:guide id="4" pos="556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6E4E9AD-2161-43DE-9632-5D104F87BD7D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4770000" y="945000"/>
            <a:ext cx="4050000" cy="30780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3" y="270000"/>
            <a:ext cx="8514009" cy="32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5100" y="945000"/>
            <a:ext cx="4050000" cy="486000"/>
          </a:xfrm>
        </p:spPr>
        <p:txBody>
          <a:bodyPr/>
          <a:lstStyle>
            <a:lvl1pPr marL="563" indent="0">
              <a:buNone/>
              <a:defRPr sz="1400" b="1">
                <a:solidFill>
                  <a:schemeClr val="bg2"/>
                </a:solidFill>
              </a:defRPr>
            </a:lvl1pPr>
            <a:lvl2pPr marL="201398" indent="0">
              <a:buNone/>
              <a:defRPr sz="1050"/>
            </a:lvl2pPr>
            <a:lvl3pPr>
              <a:defRPr sz="825"/>
            </a:lvl3pPr>
            <a:lvl4pPr>
              <a:defRPr sz="825"/>
            </a:lvl4pPr>
            <a:lvl5pPr>
              <a:defRPr sz="825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1A6E24D0-F3C2-452A-832E-2C6DED5EB07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05103" y="1539000"/>
            <a:ext cx="4049687" cy="2484000"/>
          </a:xfrm>
        </p:spPr>
        <p:txBody>
          <a:bodyPr/>
          <a:lstStyle>
            <a:lvl1pPr marL="563" indent="0"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050ABBE-577D-4E00-9DB0-45362722D6A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05993" y="4131000"/>
            <a:ext cx="8514009" cy="310500"/>
          </a:xfrm>
          <a:solidFill>
            <a:schemeClr val="accent6"/>
          </a:solidFill>
        </p:spPr>
        <p:txBody>
          <a:bodyPr lIns="90000" rIns="90000" anchor="ctr"/>
          <a:lstStyle>
            <a:lvl1pPr marL="563" indent="0">
              <a:buNone/>
              <a:defRPr sz="1200" b="1">
                <a:solidFill>
                  <a:schemeClr val="tx1"/>
                </a:solidFill>
              </a:defRPr>
            </a:lvl1pPr>
            <a:lvl2pPr marL="201398" indent="0">
              <a:buNone/>
              <a:defRPr sz="1200" b="1">
                <a:solidFill>
                  <a:schemeClr val="bg1"/>
                </a:solidFill>
              </a:defRPr>
            </a:lvl2pPr>
            <a:lvl3pPr marL="408374" indent="0">
              <a:buNone/>
              <a:defRPr sz="1200" b="1">
                <a:solidFill>
                  <a:schemeClr val="bg1"/>
                </a:solidFill>
              </a:defRPr>
            </a:lvl3pPr>
            <a:lvl4pPr marL="608395" indent="0">
              <a:buNone/>
              <a:defRPr sz="1200" b="1">
                <a:solidFill>
                  <a:schemeClr val="bg1"/>
                </a:solidFill>
              </a:defRPr>
            </a:lvl4pPr>
            <a:lvl5pPr marL="811986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899AAB31-0C28-4F5C-8211-6792AD6BAEBF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°›</a:t>
            </a:fld>
            <a:endParaRPr dirty="0"/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73E5C5B2-229A-4AE8-80AE-98482FD29304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CD79415E-1EEA-4ABA-9894-961154D5618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9/02/2026</a:t>
            </a:fld>
            <a:endParaRPr lang="en-GB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3261DD9-017C-BC45-B9E9-4A289EB4EE6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3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3" indent="0">
              <a:buNone/>
              <a:defRPr sz="450">
                <a:solidFill>
                  <a:schemeClr val="tx1"/>
                </a:solidFill>
              </a:defRPr>
            </a:lvl2pPr>
            <a:lvl3pPr marL="408374" indent="0">
              <a:buNone/>
              <a:defRPr sz="450">
                <a:solidFill>
                  <a:schemeClr val="tx1"/>
                </a:solidFill>
              </a:defRPr>
            </a:lvl3pPr>
            <a:lvl4pPr marL="608395" indent="0">
              <a:buNone/>
              <a:defRPr sz="450">
                <a:solidFill>
                  <a:schemeClr val="tx1"/>
                </a:solidFill>
              </a:defRPr>
            </a:lvl4pPr>
            <a:lvl5pPr marL="81198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408873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>
          <p15:clr>
            <a:srgbClr val="FBAE40"/>
          </p15:clr>
        </p15:guide>
        <p15:guide id="2" pos="193">
          <p15:clr>
            <a:srgbClr val="FBAE40"/>
          </p15:clr>
        </p15:guide>
        <p15:guide id="3" pos="5567">
          <p15:clr>
            <a:srgbClr val="FBAE40"/>
          </p15:clr>
        </p15:guide>
        <p15:guide id="4" orient="horz" pos="253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, Diagram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6E4E9AD-2161-43DE-9632-5D104F87BD7D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4770000" y="945000"/>
            <a:ext cx="4050000" cy="3078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3" y="270000"/>
            <a:ext cx="8514009" cy="51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5991" y="945000"/>
            <a:ext cx="4050000" cy="486000"/>
          </a:xfrm>
        </p:spPr>
        <p:txBody>
          <a:bodyPr/>
          <a:lstStyle>
            <a:lvl1pPr marL="563" indent="0">
              <a:buNone/>
              <a:defRPr sz="1400" b="1">
                <a:solidFill>
                  <a:schemeClr val="tx2"/>
                </a:solidFill>
              </a:defRPr>
            </a:lvl1pPr>
            <a:lvl2pPr marL="201398" indent="0">
              <a:buNone/>
              <a:defRPr sz="1050"/>
            </a:lvl2pPr>
            <a:lvl3pPr>
              <a:defRPr sz="825"/>
            </a:lvl3pPr>
            <a:lvl4pPr>
              <a:defRPr sz="825"/>
            </a:lvl4pPr>
            <a:lvl5pPr>
              <a:defRPr sz="825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1A6E24D0-F3C2-452A-832E-2C6DED5EB07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06307" y="1539000"/>
            <a:ext cx="4049687" cy="2484000"/>
          </a:xfrm>
        </p:spPr>
        <p:txBody>
          <a:bodyPr/>
          <a:lstStyle>
            <a:lvl1pPr marL="563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050ABBE-577D-4E00-9DB0-45362722D6A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05993" y="4131000"/>
            <a:ext cx="8514009" cy="310500"/>
          </a:xfrm>
          <a:solidFill>
            <a:schemeClr val="accent6"/>
          </a:solidFill>
        </p:spPr>
        <p:txBody>
          <a:bodyPr lIns="90000" rIns="90000" anchor="ctr"/>
          <a:lstStyle>
            <a:lvl1pPr marL="563" indent="0">
              <a:buNone/>
              <a:defRPr sz="1200" b="1">
                <a:solidFill>
                  <a:schemeClr val="tx1"/>
                </a:solidFill>
              </a:defRPr>
            </a:lvl1pPr>
            <a:lvl2pPr marL="201398" indent="0">
              <a:buNone/>
              <a:defRPr sz="1200" b="1">
                <a:solidFill>
                  <a:schemeClr val="bg1"/>
                </a:solidFill>
              </a:defRPr>
            </a:lvl2pPr>
            <a:lvl3pPr marL="408374" indent="0">
              <a:buNone/>
              <a:defRPr sz="1200" b="1">
                <a:solidFill>
                  <a:schemeClr val="bg1"/>
                </a:solidFill>
              </a:defRPr>
            </a:lvl3pPr>
            <a:lvl4pPr marL="608395" indent="0">
              <a:buNone/>
              <a:defRPr sz="1200" b="1">
                <a:solidFill>
                  <a:schemeClr val="bg1"/>
                </a:solidFill>
              </a:defRPr>
            </a:lvl4pPr>
            <a:lvl5pPr marL="811986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Rectangle 6">
            <a:extLst>
              <a:ext uri="{FF2B5EF4-FFF2-40B4-BE49-F238E27FC236}">
                <a16:creationId xmlns:a16="http://schemas.microsoft.com/office/drawing/2014/main" id="{373669A0-0EBD-4456-867A-A9328E82891C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°›</a:t>
            </a:fld>
            <a:endParaRPr dirty="0"/>
          </a:p>
        </p:txBody>
      </p:sp>
      <p:sp>
        <p:nvSpPr>
          <p:cNvPr id="19" name="Rectangle 5">
            <a:extLst>
              <a:ext uri="{FF2B5EF4-FFF2-40B4-BE49-F238E27FC236}">
                <a16:creationId xmlns:a16="http://schemas.microsoft.com/office/drawing/2014/main" id="{01D65FF6-D640-4BF1-BF72-8E43AE10D453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E6EF7406-C576-4848-97C7-AAA7FC1757F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9/02/2026</a:t>
            </a:fld>
            <a:endParaRPr lang="en-GB" dirty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EC582A0E-9430-634A-9419-DFBA800AECE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3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3" indent="0">
              <a:buNone/>
              <a:defRPr sz="450">
                <a:solidFill>
                  <a:schemeClr val="tx1"/>
                </a:solidFill>
              </a:defRPr>
            </a:lvl2pPr>
            <a:lvl3pPr marL="408374" indent="0">
              <a:buNone/>
              <a:defRPr sz="450">
                <a:solidFill>
                  <a:schemeClr val="tx1"/>
                </a:solidFill>
              </a:defRPr>
            </a:lvl3pPr>
            <a:lvl4pPr marL="608395" indent="0">
              <a:buNone/>
              <a:defRPr sz="450">
                <a:solidFill>
                  <a:schemeClr val="tx1"/>
                </a:solidFill>
              </a:defRPr>
            </a:lvl4pPr>
            <a:lvl5pPr marL="81198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1A29E133-93B4-2F44-87CD-5B71EE62D06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1" y="4573907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4790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39">
          <p15:clr>
            <a:srgbClr val="FBAE40"/>
          </p15:clr>
        </p15:guide>
        <p15:guide id="2" orient="horz" pos="599">
          <p15:clr>
            <a:srgbClr val="FBAE40"/>
          </p15:clr>
        </p15:guide>
        <p15:guide id="3" pos="193">
          <p15:clr>
            <a:srgbClr val="FBAE40"/>
          </p15:clr>
        </p15:guide>
        <p15:guide id="4" pos="556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3" y="945000"/>
            <a:ext cx="8514009" cy="12150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FBEFD6C2-91B4-4CD4-9A79-D05CB40D8D0D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305993" y="2241000"/>
            <a:ext cx="8514009" cy="2241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table</a:t>
            </a:r>
            <a:endParaRPr lang="en-GB" dirty="0"/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FD5AA67F-D774-4717-932C-F0B29822B90E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°›</a:t>
            </a:fld>
            <a:endParaRPr dirty="0"/>
          </a:p>
        </p:txBody>
      </p:sp>
      <p:sp>
        <p:nvSpPr>
          <p:cNvPr id="14" name="Rectangle 5">
            <a:extLst>
              <a:ext uri="{FF2B5EF4-FFF2-40B4-BE49-F238E27FC236}">
                <a16:creationId xmlns:a16="http://schemas.microsoft.com/office/drawing/2014/main" id="{FBA5458A-D52A-4182-9D4F-B733461BD03F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3B4092C3-EE46-4DDC-9B63-41F7B0856C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9/02/2026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1A7F938-8874-D547-8D0E-7CDD13CA79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3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3" indent="0">
              <a:buNone/>
              <a:defRPr sz="450">
                <a:solidFill>
                  <a:schemeClr val="tx1"/>
                </a:solidFill>
              </a:defRPr>
            </a:lvl2pPr>
            <a:lvl3pPr marL="408374" indent="0">
              <a:buNone/>
              <a:defRPr sz="450">
                <a:solidFill>
                  <a:schemeClr val="tx1"/>
                </a:solidFill>
              </a:defRPr>
            </a:lvl3pPr>
            <a:lvl4pPr marL="608395" indent="0">
              <a:buNone/>
              <a:defRPr sz="450">
                <a:solidFill>
                  <a:schemeClr val="tx1"/>
                </a:solidFill>
              </a:defRPr>
            </a:lvl4pPr>
            <a:lvl5pPr marL="81198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460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>
          <p15:clr>
            <a:srgbClr val="FBAE40"/>
          </p15:clr>
        </p15:guide>
        <p15:guide id="2" orient="horz" pos="2828">
          <p15:clr>
            <a:srgbClr val="FBAE40"/>
          </p15:clr>
        </p15:guide>
        <p15:guide id="3" pos="193">
          <p15:clr>
            <a:srgbClr val="FBAE40"/>
          </p15:clr>
        </p15:guide>
        <p15:guide id="4" pos="5567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3" y="945000"/>
            <a:ext cx="8514009" cy="1215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339FEA5C-F0F7-4DC8-A3CB-4F59CD62336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05993" y="2241000"/>
            <a:ext cx="8514009" cy="2241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4" name="Rectangle 6">
            <a:extLst>
              <a:ext uri="{FF2B5EF4-FFF2-40B4-BE49-F238E27FC236}">
                <a16:creationId xmlns:a16="http://schemas.microsoft.com/office/drawing/2014/main" id="{A284587B-1CDA-4876-A793-514BF8C6E912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°›</a:t>
            </a:fld>
            <a:endParaRPr dirty="0"/>
          </a:p>
        </p:txBody>
      </p:sp>
      <p:sp>
        <p:nvSpPr>
          <p:cNvPr id="15" name="Rectangle 5">
            <a:extLst>
              <a:ext uri="{FF2B5EF4-FFF2-40B4-BE49-F238E27FC236}">
                <a16:creationId xmlns:a16="http://schemas.microsoft.com/office/drawing/2014/main" id="{A34C3E2D-DFBD-4199-9925-A48E0A0840BE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853F276A-A474-4D15-B610-649F7439CF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9/02/2026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D49E691-BB78-AD4F-9E18-1D3065F2A32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3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3" indent="0">
              <a:buNone/>
              <a:defRPr sz="450">
                <a:solidFill>
                  <a:schemeClr val="tx1"/>
                </a:solidFill>
              </a:defRPr>
            </a:lvl2pPr>
            <a:lvl3pPr marL="408374" indent="0">
              <a:buNone/>
              <a:defRPr sz="450">
                <a:solidFill>
                  <a:schemeClr val="tx1"/>
                </a:solidFill>
              </a:defRPr>
            </a:lvl3pPr>
            <a:lvl4pPr marL="608395" indent="0">
              <a:buNone/>
              <a:defRPr sz="450">
                <a:solidFill>
                  <a:schemeClr val="tx1"/>
                </a:solidFill>
              </a:defRPr>
            </a:lvl4pPr>
            <a:lvl5pPr marL="81198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0914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>
          <p15:clr>
            <a:srgbClr val="FBAE40"/>
          </p15:clr>
        </p15:guide>
        <p15:guide id="2" orient="horz" pos="2828">
          <p15:clr>
            <a:srgbClr val="FBAE40"/>
          </p15:clr>
        </p15:guide>
        <p15:guide id="3" pos="193">
          <p15:clr>
            <a:srgbClr val="FBAE40"/>
          </p15:clr>
        </p15:guide>
        <p15:guide id="4" pos="556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, Text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3" y="270000"/>
            <a:ext cx="8514009" cy="513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3" y="945000"/>
            <a:ext cx="8514009" cy="1215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FBEFD6C2-91B4-4CD4-9A79-D05CB40D8D0D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305993" y="2241000"/>
            <a:ext cx="8514009" cy="2241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12" name="Rectangle 6">
            <a:extLst>
              <a:ext uri="{FF2B5EF4-FFF2-40B4-BE49-F238E27FC236}">
                <a16:creationId xmlns:a16="http://schemas.microsoft.com/office/drawing/2014/main" id="{C864E540-FF59-4025-8314-E98F695F9301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°›</a:t>
            </a:fld>
            <a:endParaRPr dirty="0"/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A6C897A3-6BB6-4DE3-A141-15C36C89E8FE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81B1DC07-E33B-4ABF-8144-061A20796FD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9/02/2026</a:t>
            </a:fld>
            <a:endParaRPr lang="en-GB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1988E372-5EE9-7642-AB53-E7282EA4FFA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3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3" indent="0">
              <a:buNone/>
              <a:defRPr sz="450">
                <a:solidFill>
                  <a:schemeClr val="tx1"/>
                </a:solidFill>
              </a:defRPr>
            </a:lvl2pPr>
            <a:lvl3pPr marL="408374" indent="0">
              <a:buNone/>
              <a:defRPr sz="450">
                <a:solidFill>
                  <a:schemeClr val="tx1"/>
                </a:solidFill>
              </a:defRPr>
            </a:lvl3pPr>
            <a:lvl4pPr marL="608395" indent="0">
              <a:buNone/>
              <a:defRPr sz="450">
                <a:solidFill>
                  <a:schemeClr val="tx1"/>
                </a:solidFill>
              </a:defRPr>
            </a:lvl4pPr>
            <a:lvl5pPr marL="81198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0DCA48CE-0CC7-7246-AC4A-F253A445FC6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1" y="4573907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72565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>
          <p15:clr>
            <a:srgbClr val="FBAE40"/>
          </p15:clr>
        </p15:guide>
        <p15:guide id="2" orient="horz" pos="2828">
          <p15:clr>
            <a:srgbClr val="FBAE40"/>
          </p15:clr>
        </p15:guide>
        <p15:guide id="3" pos="193">
          <p15:clr>
            <a:srgbClr val="FBAE40"/>
          </p15:clr>
        </p15:guide>
        <p15:guide id="4" pos="556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, Text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3" y="270000"/>
            <a:ext cx="8514009" cy="51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3" y="945000"/>
            <a:ext cx="8514009" cy="1215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339FEA5C-F0F7-4DC8-A3CB-4F59CD62336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05993" y="2241000"/>
            <a:ext cx="8514009" cy="2241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2" name="Rectangle 6">
            <a:extLst>
              <a:ext uri="{FF2B5EF4-FFF2-40B4-BE49-F238E27FC236}">
                <a16:creationId xmlns:a16="http://schemas.microsoft.com/office/drawing/2014/main" id="{31D130F5-5749-41B7-83E7-606999E8164C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°›</a:t>
            </a:fld>
            <a:endParaRPr dirty="0"/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CDEA80CA-6343-47F9-8111-C0231C91CB76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8B6BF80E-F726-4844-9E12-485EE1B551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9/02/2026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5062487-7D01-E446-ABAA-916EA777020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3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3" indent="0">
              <a:buNone/>
              <a:defRPr sz="450">
                <a:solidFill>
                  <a:schemeClr val="tx1"/>
                </a:solidFill>
              </a:defRPr>
            </a:lvl2pPr>
            <a:lvl3pPr marL="408374" indent="0">
              <a:buNone/>
              <a:defRPr sz="450">
                <a:solidFill>
                  <a:schemeClr val="tx1"/>
                </a:solidFill>
              </a:defRPr>
            </a:lvl3pPr>
            <a:lvl4pPr marL="608395" indent="0">
              <a:buNone/>
              <a:defRPr sz="450">
                <a:solidFill>
                  <a:schemeClr val="tx1"/>
                </a:solidFill>
              </a:defRPr>
            </a:lvl4pPr>
            <a:lvl5pPr marL="81198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CD7CC6F3-F341-3943-BBB4-4F6FB87458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1" y="4573907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50980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>
          <p15:clr>
            <a:srgbClr val="FBAE40"/>
          </p15:clr>
        </p15:guide>
        <p15:guide id="2" pos="5567">
          <p15:clr>
            <a:srgbClr val="FBAE40"/>
          </p15:clr>
        </p15:guide>
        <p15:guide id="3" orient="horz" pos="2828">
          <p15:clr>
            <a:srgbClr val="FBAE40"/>
          </p15:clr>
        </p15:guide>
        <p15:guide id="4" orient="horz" pos="599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339FEA5C-F0F7-4DC8-A3CB-4F59CD62336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05993" y="1350000"/>
            <a:ext cx="8514009" cy="2862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F83CBA1-C6E0-4CB0-8A5A-295EFEC839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5993" y="945000"/>
            <a:ext cx="8514009" cy="243000"/>
          </a:xfrm>
        </p:spPr>
        <p:txBody>
          <a:bodyPr/>
          <a:lstStyle>
            <a:lvl1pPr marL="563" indent="0">
              <a:buNone/>
              <a:defRPr sz="1000"/>
            </a:lvl1pPr>
            <a:lvl2pPr marL="201398" indent="0">
              <a:buNone/>
              <a:defRPr/>
            </a:lvl2pPr>
            <a:lvl3pPr marL="408374" indent="0">
              <a:buNone/>
              <a:defRPr/>
            </a:lvl3pPr>
            <a:lvl4pPr marL="608395" indent="0">
              <a:buNone/>
              <a:defRPr/>
            </a:lvl4pPr>
            <a:lvl5pPr marL="811986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B089D0-2AB9-4B3B-B3F0-FBDDC33A8B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5991" y="4266000"/>
            <a:ext cx="7041600" cy="270000"/>
          </a:xfrm>
        </p:spPr>
        <p:txBody>
          <a:bodyPr/>
          <a:lstStyle>
            <a:lvl1pPr marL="563" indent="0">
              <a:buNone/>
              <a:defRPr sz="600"/>
            </a:lvl1pPr>
            <a:lvl2pPr marL="201398" indent="0">
              <a:buNone/>
              <a:defRPr sz="600"/>
            </a:lvl2pPr>
            <a:lvl3pPr marL="408374" indent="0">
              <a:buNone/>
              <a:defRPr sz="600"/>
            </a:lvl3pPr>
            <a:lvl4pPr marL="608395" indent="0">
              <a:buNone/>
              <a:defRPr sz="600"/>
            </a:lvl4pPr>
            <a:lvl5pPr marL="811986" indent="0">
              <a:buNone/>
              <a:defRPr sz="6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0F33A73F-A895-4C94-95A9-FA03D023DC8B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°›</a:t>
            </a:fld>
            <a:endParaRPr dirty="0"/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C3854CEC-8BEC-4939-A1B8-8CF314019230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89176665-5609-4739-99EF-C6DD9E6EEB9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9/02/2026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2714CB-08FE-0E43-B4B6-AF59CE0D60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3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3" indent="0">
              <a:buNone/>
              <a:defRPr sz="450">
                <a:solidFill>
                  <a:schemeClr val="tx1"/>
                </a:solidFill>
              </a:defRPr>
            </a:lvl2pPr>
            <a:lvl3pPr marL="408374" indent="0">
              <a:buNone/>
              <a:defRPr sz="450">
                <a:solidFill>
                  <a:schemeClr val="tx1"/>
                </a:solidFill>
              </a:defRPr>
            </a:lvl3pPr>
            <a:lvl4pPr marL="608395" indent="0">
              <a:buNone/>
              <a:defRPr sz="450">
                <a:solidFill>
                  <a:schemeClr val="tx1"/>
                </a:solidFill>
              </a:defRPr>
            </a:lvl4pPr>
            <a:lvl5pPr marL="81198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0097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>
          <p15:clr>
            <a:srgbClr val="FBAE40"/>
          </p15:clr>
        </p15:guide>
        <p15:guide id="2" pos="5551">
          <p15:clr>
            <a:srgbClr val="FBAE40"/>
          </p15:clr>
        </p15:guide>
        <p15:guide id="3" orient="horz" pos="583">
          <p15:clr>
            <a:srgbClr val="FBAE40"/>
          </p15:clr>
        </p15:guide>
        <p15:guide id="4" orient="horz" pos="265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3" y="270000"/>
            <a:ext cx="8514009" cy="51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3" y="945000"/>
            <a:ext cx="8514009" cy="3078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Rectangle 6">
            <a:extLst>
              <a:ext uri="{FF2B5EF4-FFF2-40B4-BE49-F238E27FC236}">
                <a16:creationId xmlns:a16="http://schemas.microsoft.com/office/drawing/2014/main" id="{5703CFA7-A538-4501-859A-21256EBD78A6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°›</a:t>
            </a:fld>
            <a:endParaRPr dirty="0"/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87C43110-7893-4132-8872-7964F9A4CE7A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AA44342B-3089-4622-91B7-14FDB45E49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9/02/2026</a:t>
            </a:fld>
            <a:endParaRPr lang="en-GB" dirty="0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E5E5C279-D9D3-4F4D-A16B-830F2086E5C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3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3" indent="0">
              <a:buNone/>
              <a:defRPr sz="450">
                <a:solidFill>
                  <a:schemeClr val="tx1"/>
                </a:solidFill>
              </a:defRPr>
            </a:lvl2pPr>
            <a:lvl3pPr marL="408374" indent="0">
              <a:buNone/>
              <a:defRPr sz="450">
                <a:solidFill>
                  <a:schemeClr val="tx1"/>
                </a:solidFill>
              </a:defRPr>
            </a:lvl3pPr>
            <a:lvl4pPr marL="608395" indent="0">
              <a:buNone/>
              <a:defRPr sz="450">
                <a:solidFill>
                  <a:schemeClr val="tx1"/>
                </a:solidFill>
              </a:defRPr>
            </a:lvl4pPr>
            <a:lvl5pPr marL="81198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60D11CD-153A-014B-8473-9D9528003D8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1" y="4573907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621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orient="horz" pos="599">
          <p15:clr>
            <a:srgbClr val="FBAE40"/>
          </p15:clr>
        </p15:guide>
        <p15:guide id="3" orient="horz" pos="2539">
          <p15:clr>
            <a:srgbClr val="FBAE40"/>
          </p15:clr>
        </p15:guide>
        <p15:guide id="4" pos="193">
          <p15:clr>
            <a:srgbClr val="FBAE40"/>
          </p15:clr>
        </p15:guide>
        <p15:guide id="5" pos="5567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3" y="270000"/>
            <a:ext cx="8514009" cy="51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339FEA5C-F0F7-4DC8-A3CB-4F59CD62336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05993" y="1350000"/>
            <a:ext cx="8514009" cy="2862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F83CBA1-C6E0-4CB0-8A5A-295EFEC839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5993" y="945000"/>
            <a:ext cx="8514009" cy="243000"/>
          </a:xfrm>
        </p:spPr>
        <p:txBody>
          <a:bodyPr/>
          <a:lstStyle>
            <a:lvl1pPr marL="563" indent="0">
              <a:buNone/>
              <a:defRPr sz="1000"/>
            </a:lvl1pPr>
            <a:lvl2pPr marL="201398" indent="0">
              <a:buNone/>
              <a:defRPr/>
            </a:lvl2pPr>
            <a:lvl3pPr marL="408374" indent="0">
              <a:buNone/>
              <a:defRPr/>
            </a:lvl3pPr>
            <a:lvl4pPr marL="608395" indent="0">
              <a:buNone/>
              <a:defRPr/>
            </a:lvl4pPr>
            <a:lvl5pPr marL="811986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B089D0-2AB9-4B3B-B3F0-FBDDC33A8B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5991" y="4266000"/>
            <a:ext cx="7041600" cy="270000"/>
          </a:xfrm>
        </p:spPr>
        <p:txBody>
          <a:bodyPr/>
          <a:lstStyle>
            <a:lvl1pPr marL="563" indent="0">
              <a:buNone/>
              <a:defRPr sz="600"/>
            </a:lvl1pPr>
            <a:lvl2pPr marL="201398" indent="0">
              <a:buNone/>
              <a:defRPr sz="600"/>
            </a:lvl2pPr>
            <a:lvl3pPr marL="408374" indent="0">
              <a:buNone/>
              <a:defRPr sz="600"/>
            </a:lvl3pPr>
            <a:lvl4pPr marL="608395" indent="0">
              <a:buNone/>
              <a:defRPr sz="600"/>
            </a:lvl4pPr>
            <a:lvl5pPr marL="811986" indent="0">
              <a:buNone/>
              <a:defRPr sz="6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Rectangle 6">
            <a:extLst>
              <a:ext uri="{FF2B5EF4-FFF2-40B4-BE49-F238E27FC236}">
                <a16:creationId xmlns:a16="http://schemas.microsoft.com/office/drawing/2014/main" id="{81CF5AC5-B762-40BA-8D84-8B53B1913B70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°›</a:t>
            </a:fld>
            <a:endParaRPr dirty="0"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19275034-B9ED-4823-909A-12B30A9F76D9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688FE6AD-0E6A-4DFF-968C-8FA51A58318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9/02/2026</a:t>
            </a:fld>
            <a:endParaRPr lang="en-GB" dirty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CE05C8B-8078-CA41-9702-0441C6AE5C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3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3" indent="0">
              <a:buNone/>
              <a:defRPr sz="450">
                <a:solidFill>
                  <a:schemeClr val="tx1"/>
                </a:solidFill>
              </a:defRPr>
            </a:lvl2pPr>
            <a:lvl3pPr marL="408374" indent="0">
              <a:buNone/>
              <a:defRPr sz="450">
                <a:solidFill>
                  <a:schemeClr val="tx1"/>
                </a:solidFill>
              </a:defRPr>
            </a:lvl3pPr>
            <a:lvl4pPr marL="608395" indent="0">
              <a:buNone/>
              <a:defRPr sz="450">
                <a:solidFill>
                  <a:schemeClr val="tx1"/>
                </a:solidFill>
              </a:defRPr>
            </a:lvl4pPr>
            <a:lvl5pPr marL="81198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2582F237-FB01-4B47-8BC9-C65B951971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1" y="4573907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50611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>
          <p15:clr>
            <a:srgbClr val="FBAE40"/>
          </p15:clr>
        </p15:guide>
        <p15:guide id="2" orient="horz" pos="2657">
          <p15:clr>
            <a:srgbClr val="FBAE40"/>
          </p15:clr>
        </p15:guide>
        <p15:guide id="3" pos="5567">
          <p15:clr>
            <a:srgbClr val="FBAE40"/>
          </p15:clr>
        </p15:guide>
        <p15:guide id="4" pos="193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75AC73C6-6E18-46C5-88C8-50B136E794A2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306307" y="945356"/>
            <a:ext cx="8531705" cy="3267075"/>
          </a:xfrm>
        </p:spPr>
        <p:txBody>
          <a:bodyPr/>
          <a:lstStyle>
            <a:lvl1pPr marL="563" indent="0">
              <a:buNone/>
              <a:defRPr/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B089D0-2AB9-4B3B-B3F0-FBDDC33A8B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5991" y="4266000"/>
            <a:ext cx="7041600" cy="270000"/>
          </a:xfrm>
        </p:spPr>
        <p:txBody>
          <a:bodyPr/>
          <a:lstStyle>
            <a:lvl1pPr marL="563" indent="0">
              <a:buNone/>
              <a:defRPr sz="600"/>
            </a:lvl1pPr>
            <a:lvl2pPr marL="201398" indent="0">
              <a:buNone/>
              <a:defRPr sz="600"/>
            </a:lvl2pPr>
            <a:lvl3pPr marL="408374" indent="0">
              <a:buNone/>
              <a:defRPr sz="600"/>
            </a:lvl3pPr>
            <a:lvl4pPr marL="608395" indent="0">
              <a:buNone/>
              <a:defRPr sz="600"/>
            </a:lvl4pPr>
            <a:lvl5pPr marL="811986" indent="0">
              <a:buNone/>
              <a:defRPr sz="6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A0C41700-2D2A-45F9-9EDA-9C15BE259D2F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°›</a:t>
            </a:fld>
            <a:endParaRPr dirty="0"/>
          </a:p>
        </p:txBody>
      </p:sp>
      <p:sp>
        <p:nvSpPr>
          <p:cNvPr id="11" name="Rectangle 5">
            <a:extLst>
              <a:ext uri="{FF2B5EF4-FFF2-40B4-BE49-F238E27FC236}">
                <a16:creationId xmlns:a16="http://schemas.microsoft.com/office/drawing/2014/main" id="{F9146766-47FE-4CE2-AE7C-090A18DDE4AD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0BDAAD77-6F4E-44AE-B736-747FA11E60A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9/02/2026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5036206-DB40-0946-90A7-F57B72D4717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3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3" indent="0">
              <a:buNone/>
              <a:defRPr sz="450">
                <a:solidFill>
                  <a:schemeClr val="tx1"/>
                </a:solidFill>
              </a:defRPr>
            </a:lvl2pPr>
            <a:lvl3pPr marL="408374" indent="0">
              <a:buNone/>
              <a:defRPr sz="450">
                <a:solidFill>
                  <a:schemeClr val="tx1"/>
                </a:solidFill>
              </a:defRPr>
            </a:lvl3pPr>
            <a:lvl4pPr marL="608395" indent="0">
              <a:buNone/>
              <a:defRPr sz="450">
                <a:solidFill>
                  <a:schemeClr val="tx1"/>
                </a:solidFill>
              </a:defRPr>
            </a:lvl4pPr>
            <a:lvl5pPr marL="81198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1130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>
          <p15:clr>
            <a:srgbClr val="FBAE40"/>
          </p15:clr>
        </p15:guide>
        <p15:guide id="2" orient="horz" pos="2657">
          <p15:clr>
            <a:srgbClr val="FBAE40"/>
          </p15:clr>
        </p15:guide>
        <p15:guide id="3" pos="193">
          <p15:clr>
            <a:srgbClr val="FBAE40"/>
          </p15:clr>
        </p15:guide>
        <p15:guide id="4" pos="5567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75AC73C6-6E18-46C5-88C8-50B136E794A2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305991" y="945356"/>
            <a:ext cx="8514160" cy="3267075"/>
          </a:xfrm>
        </p:spPr>
        <p:txBody>
          <a:bodyPr/>
          <a:lstStyle>
            <a:lvl1pPr marL="563" indent="0">
              <a:buNone/>
              <a:defRPr/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675" y="270000"/>
            <a:ext cx="8514327" cy="51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B089D0-2AB9-4B3B-B3F0-FBDDC33A8B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5991" y="4266000"/>
            <a:ext cx="7041600" cy="270000"/>
          </a:xfrm>
        </p:spPr>
        <p:txBody>
          <a:bodyPr/>
          <a:lstStyle>
            <a:lvl1pPr marL="563" indent="0">
              <a:buNone/>
              <a:defRPr sz="600"/>
            </a:lvl1pPr>
            <a:lvl2pPr marL="201398" indent="0">
              <a:buNone/>
              <a:defRPr sz="600"/>
            </a:lvl2pPr>
            <a:lvl3pPr marL="408374" indent="0">
              <a:buNone/>
              <a:defRPr sz="600"/>
            </a:lvl3pPr>
            <a:lvl4pPr marL="608395" indent="0">
              <a:buNone/>
              <a:defRPr sz="600"/>
            </a:lvl4pPr>
            <a:lvl5pPr marL="811986" indent="0">
              <a:buNone/>
              <a:defRPr sz="6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Rectangle 6">
            <a:extLst>
              <a:ext uri="{FF2B5EF4-FFF2-40B4-BE49-F238E27FC236}">
                <a16:creationId xmlns:a16="http://schemas.microsoft.com/office/drawing/2014/main" id="{EC811AB3-08A2-42D8-BAD1-10F430F806C0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°›</a:t>
            </a:fld>
            <a:endParaRPr dirty="0"/>
          </a:p>
        </p:txBody>
      </p:sp>
      <p:sp>
        <p:nvSpPr>
          <p:cNvPr id="18" name="Rectangle 5">
            <a:extLst>
              <a:ext uri="{FF2B5EF4-FFF2-40B4-BE49-F238E27FC236}">
                <a16:creationId xmlns:a16="http://schemas.microsoft.com/office/drawing/2014/main" id="{101D9CA6-E7A6-4F8E-BCDC-92FD8C517F81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51CFB748-A719-4D85-A6DD-3352DA8AD67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9/02/2026</a:t>
            </a:fld>
            <a:endParaRPr lang="en-GB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F4FCE512-B788-2743-B24C-33F98E72A07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3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3" indent="0">
              <a:buNone/>
              <a:defRPr sz="450">
                <a:solidFill>
                  <a:schemeClr val="tx1"/>
                </a:solidFill>
              </a:defRPr>
            </a:lvl2pPr>
            <a:lvl3pPr marL="408374" indent="0">
              <a:buNone/>
              <a:defRPr sz="450">
                <a:solidFill>
                  <a:schemeClr val="tx1"/>
                </a:solidFill>
              </a:defRPr>
            </a:lvl3pPr>
            <a:lvl4pPr marL="608395" indent="0">
              <a:buNone/>
              <a:defRPr sz="450">
                <a:solidFill>
                  <a:schemeClr val="tx1"/>
                </a:solidFill>
              </a:defRPr>
            </a:lvl4pPr>
            <a:lvl5pPr marL="81198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00632BB2-6CFF-5A4D-A38F-68125D8B47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1" y="4573907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2555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>
          <p15:clr>
            <a:srgbClr val="FBAE40"/>
          </p15:clr>
        </p15:guide>
        <p15:guide id="2" orient="horz" pos="599">
          <p15:clr>
            <a:srgbClr val="FBAE40"/>
          </p15:clr>
        </p15:guide>
        <p15:guide id="3" orient="horz" pos="2657">
          <p15:clr>
            <a:srgbClr val="FBAE40"/>
          </p15:clr>
        </p15:guide>
        <p15:guide id="4" pos="556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Two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3" y="945000"/>
            <a:ext cx="8514009" cy="12150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FBEFD6C2-91B4-4CD4-9A79-D05CB40D8D0D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305991" y="2241000"/>
            <a:ext cx="4050000" cy="2241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9" name="Table Placeholder 5">
            <a:extLst>
              <a:ext uri="{FF2B5EF4-FFF2-40B4-BE49-F238E27FC236}">
                <a16:creationId xmlns:a16="http://schemas.microsoft.com/office/drawing/2014/main" id="{FF7CB893-ACDD-4BB0-BC38-42EE020F3CA8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4770000" y="2241000"/>
            <a:ext cx="4050000" cy="2241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14" name="Rectangle 6">
            <a:extLst>
              <a:ext uri="{FF2B5EF4-FFF2-40B4-BE49-F238E27FC236}">
                <a16:creationId xmlns:a16="http://schemas.microsoft.com/office/drawing/2014/main" id="{AD34DC55-E80B-49CF-A9E7-E92A3344AB0E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°›</a:t>
            </a:fld>
            <a:endParaRPr dirty="0"/>
          </a:p>
        </p:txBody>
      </p:sp>
      <p:sp>
        <p:nvSpPr>
          <p:cNvPr id="15" name="Rectangle 5">
            <a:extLst>
              <a:ext uri="{FF2B5EF4-FFF2-40B4-BE49-F238E27FC236}">
                <a16:creationId xmlns:a16="http://schemas.microsoft.com/office/drawing/2014/main" id="{F817B644-46E0-4874-8B2A-29A19663A0D4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DF727A25-77B3-467E-80AA-72599073E31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9/02/2026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8FB3978-8071-6A4A-BCD0-E327E9870B0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3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3" indent="0">
              <a:buNone/>
              <a:defRPr sz="450">
                <a:solidFill>
                  <a:schemeClr val="tx1"/>
                </a:solidFill>
              </a:defRPr>
            </a:lvl2pPr>
            <a:lvl3pPr marL="408374" indent="0">
              <a:buNone/>
              <a:defRPr sz="450">
                <a:solidFill>
                  <a:schemeClr val="tx1"/>
                </a:solidFill>
              </a:defRPr>
            </a:lvl3pPr>
            <a:lvl4pPr marL="608395" indent="0">
              <a:buNone/>
              <a:defRPr sz="450">
                <a:solidFill>
                  <a:schemeClr val="tx1"/>
                </a:solidFill>
              </a:defRPr>
            </a:lvl4pPr>
            <a:lvl5pPr marL="81198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409458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>
          <p15:clr>
            <a:srgbClr val="FBAE40"/>
          </p15:clr>
        </p15:guide>
        <p15:guide id="2" pos="193">
          <p15:clr>
            <a:srgbClr val="FBAE40"/>
          </p15:clr>
        </p15:guide>
        <p15:guide id="3" orient="horz" pos="2828">
          <p15:clr>
            <a:srgbClr val="FBAE40"/>
          </p15:clr>
        </p15:guide>
        <p15:guide id="4" pos="5567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3" y="945000"/>
            <a:ext cx="8514009" cy="1215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339FEA5C-F0F7-4DC8-A3CB-4F59CD62336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05991" y="2241000"/>
            <a:ext cx="4050000" cy="2241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1" name="Chart Placeholder 8">
            <a:extLst>
              <a:ext uri="{FF2B5EF4-FFF2-40B4-BE49-F238E27FC236}">
                <a16:creationId xmlns:a16="http://schemas.microsoft.com/office/drawing/2014/main" id="{B54D2430-5E30-4831-9D2C-A3ABFEB23AE3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4770000" y="2241000"/>
            <a:ext cx="4050000" cy="2241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5" name="Rectangle 6">
            <a:extLst>
              <a:ext uri="{FF2B5EF4-FFF2-40B4-BE49-F238E27FC236}">
                <a16:creationId xmlns:a16="http://schemas.microsoft.com/office/drawing/2014/main" id="{2C232D2C-F4B9-45D5-AD68-A4F184191889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°›</a:t>
            </a:fld>
            <a:endParaRPr dirty="0"/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96571FD5-A86C-4B93-BC84-347668B986A6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CBBF4B1A-5C5F-4934-A0FE-ABF3029C3B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9/02/2026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1A61384-CC6B-8D49-862E-AFC7F823E33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3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3" indent="0">
              <a:buNone/>
              <a:defRPr sz="450">
                <a:solidFill>
                  <a:schemeClr val="tx1"/>
                </a:solidFill>
              </a:defRPr>
            </a:lvl2pPr>
            <a:lvl3pPr marL="408374" indent="0">
              <a:buNone/>
              <a:defRPr sz="450">
                <a:solidFill>
                  <a:schemeClr val="tx1"/>
                </a:solidFill>
              </a:defRPr>
            </a:lvl3pPr>
            <a:lvl4pPr marL="608395" indent="0">
              <a:buNone/>
              <a:defRPr sz="450">
                <a:solidFill>
                  <a:schemeClr val="tx1"/>
                </a:solidFill>
              </a:defRPr>
            </a:lvl4pPr>
            <a:lvl5pPr marL="81198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912080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>
          <p15:clr>
            <a:srgbClr val="FBAE40"/>
          </p15:clr>
        </p15:guide>
        <p15:guide id="2" orient="horz" pos="2828">
          <p15:clr>
            <a:srgbClr val="FBAE40"/>
          </p15:clr>
        </p15:guide>
        <p15:guide id="3" pos="193">
          <p15:clr>
            <a:srgbClr val="FBAE40"/>
          </p15:clr>
        </p15:guide>
        <p15:guide id="4" pos="5567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, Text &amp; Two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3" y="270000"/>
            <a:ext cx="8514009" cy="51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3" y="945000"/>
            <a:ext cx="8514009" cy="1215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FBEFD6C2-91B4-4CD4-9A79-D05CB40D8D0D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305991" y="2241000"/>
            <a:ext cx="4050000" cy="2241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9" name="Table Placeholder 5">
            <a:extLst>
              <a:ext uri="{FF2B5EF4-FFF2-40B4-BE49-F238E27FC236}">
                <a16:creationId xmlns:a16="http://schemas.microsoft.com/office/drawing/2014/main" id="{FF7CB893-ACDD-4BB0-BC38-42EE020F3CA8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4770000" y="2241000"/>
            <a:ext cx="4050000" cy="2241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16" name="Rectangle 6">
            <a:extLst>
              <a:ext uri="{FF2B5EF4-FFF2-40B4-BE49-F238E27FC236}">
                <a16:creationId xmlns:a16="http://schemas.microsoft.com/office/drawing/2014/main" id="{7FD265D2-2064-42AD-838B-312D03F08D0A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°›</a:t>
            </a:fld>
            <a:endParaRPr dirty="0"/>
          </a:p>
        </p:txBody>
      </p:sp>
      <p:sp>
        <p:nvSpPr>
          <p:cNvPr id="18" name="Rectangle 5">
            <a:extLst>
              <a:ext uri="{FF2B5EF4-FFF2-40B4-BE49-F238E27FC236}">
                <a16:creationId xmlns:a16="http://schemas.microsoft.com/office/drawing/2014/main" id="{7EE3BA67-9DF6-413F-A0AA-4A4C9D1C0007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3BE80059-ABCE-424A-BF38-C05EF8156A1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9/02/2026</a:t>
            </a:fld>
            <a:endParaRPr lang="en-GB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A64D043F-8789-0248-A98A-F359DBA7235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3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3" indent="0">
              <a:buNone/>
              <a:defRPr sz="450">
                <a:solidFill>
                  <a:schemeClr val="tx1"/>
                </a:solidFill>
              </a:defRPr>
            </a:lvl2pPr>
            <a:lvl3pPr marL="408374" indent="0">
              <a:buNone/>
              <a:defRPr sz="450">
                <a:solidFill>
                  <a:schemeClr val="tx1"/>
                </a:solidFill>
              </a:defRPr>
            </a:lvl3pPr>
            <a:lvl4pPr marL="608395" indent="0">
              <a:buNone/>
              <a:defRPr sz="450">
                <a:solidFill>
                  <a:schemeClr val="tx1"/>
                </a:solidFill>
              </a:defRPr>
            </a:lvl4pPr>
            <a:lvl5pPr marL="81198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4EF6FA21-336A-F647-B102-51992C59DF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1" y="4573907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49056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>
          <p15:clr>
            <a:srgbClr val="FBAE40"/>
          </p15:clr>
        </p15:guide>
        <p15:guide id="2" orient="horz" pos="2828">
          <p15:clr>
            <a:srgbClr val="FBAE40"/>
          </p15:clr>
        </p15:guide>
        <p15:guide id="3" pos="193">
          <p15:clr>
            <a:srgbClr val="FBAE40"/>
          </p15:clr>
        </p15:guide>
        <p15:guide id="4" pos="5567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, Text &amp;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3" y="270000"/>
            <a:ext cx="8514009" cy="513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3" y="945000"/>
            <a:ext cx="8514009" cy="1215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339FEA5C-F0F7-4DC8-A3CB-4F59CD62336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05991" y="2241000"/>
            <a:ext cx="4050000" cy="2241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1" name="Chart Placeholder 8">
            <a:extLst>
              <a:ext uri="{FF2B5EF4-FFF2-40B4-BE49-F238E27FC236}">
                <a16:creationId xmlns:a16="http://schemas.microsoft.com/office/drawing/2014/main" id="{B54D2430-5E30-4831-9D2C-A3ABFEB23AE3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4770000" y="2241000"/>
            <a:ext cx="4050000" cy="2241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3" name="Rectangle 6">
            <a:extLst>
              <a:ext uri="{FF2B5EF4-FFF2-40B4-BE49-F238E27FC236}">
                <a16:creationId xmlns:a16="http://schemas.microsoft.com/office/drawing/2014/main" id="{3D647285-0A70-4B0F-A4C8-541863FDE5C2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°›</a:t>
            </a:fld>
            <a:endParaRPr dirty="0"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77D9EE39-E56E-4D83-99EB-1D9D8F3A4220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DB70ECA8-6881-4CCD-BC17-AE4B79470A8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9/02/2026</a:t>
            </a:fld>
            <a:endParaRPr lang="en-GB" dirty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14C3CA4E-7F21-304D-9F4A-8B07248A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3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3" indent="0">
              <a:buNone/>
              <a:defRPr sz="450">
                <a:solidFill>
                  <a:schemeClr val="tx1"/>
                </a:solidFill>
              </a:defRPr>
            </a:lvl2pPr>
            <a:lvl3pPr marL="408374" indent="0">
              <a:buNone/>
              <a:defRPr sz="450">
                <a:solidFill>
                  <a:schemeClr val="tx1"/>
                </a:solidFill>
              </a:defRPr>
            </a:lvl3pPr>
            <a:lvl4pPr marL="608395" indent="0">
              <a:buNone/>
              <a:defRPr sz="450">
                <a:solidFill>
                  <a:schemeClr val="tx1"/>
                </a:solidFill>
              </a:defRPr>
            </a:lvl4pPr>
            <a:lvl5pPr marL="81198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D7F40858-2CD7-FE45-A2F8-0FDCC2F29C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1" y="4573907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11298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>
          <p15:clr>
            <a:srgbClr val="FBAE40"/>
          </p15:clr>
        </p15:guide>
        <p15:guide id="2" pos="5567">
          <p15:clr>
            <a:srgbClr val="FBAE40"/>
          </p15:clr>
        </p15:guide>
        <p15:guide id="3" orient="horz" pos="599">
          <p15:clr>
            <a:srgbClr val="FBAE40"/>
          </p15:clr>
        </p15:guide>
        <p15:guide id="4" orient="horz" pos="2828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wo-line Title, Text &amp;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3" y="270000"/>
            <a:ext cx="8514009" cy="513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3" y="945000"/>
            <a:ext cx="8514009" cy="1215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Rectangle 6">
            <a:extLst>
              <a:ext uri="{FF2B5EF4-FFF2-40B4-BE49-F238E27FC236}">
                <a16:creationId xmlns:a16="http://schemas.microsoft.com/office/drawing/2014/main" id="{3D647285-0A70-4B0F-A4C8-541863FDE5C2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°›</a:t>
            </a:fld>
            <a:endParaRPr dirty="0"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77D9EE39-E56E-4D83-99EB-1D9D8F3A4220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DB70ECA8-6881-4CCD-BC17-AE4B79470A8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9/02/2026</a:t>
            </a:fld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744E4E7-45AA-3E4A-95AB-894672A419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6390" y="2242040"/>
            <a:ext cx="4049603" cy="2239963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6415DFC-9328-B14E-A285-03ABEF15552F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770439" y="2242039"/>
            <a:ext cx="4049712" cy="2239963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690044A0-A316-E247-A000-7A157FEF2E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3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3" indent="0">
              <a:buNone/>
              <a:defRPr sz="450">
                <a:solidFill>
                  <a:schemeClr val="tx1"/>
                </a:solidFill>
              </a:defRPr>
            </a:lvl2pPr>
            <a:lvl3pPr marL="408374" indent="0">
              <a:buNone/>
              <a:defRPr sz="450">
                <a:solidFill>
                  <a:schemeClr val="tx1"/>
                </a:solidFill>
              </a:defRPr>
            </a:lvl3pPr>
            <a:lvl4pPr marL="608395" indent="0">
              <a:buNone/>
              <a:defRPr sz="450">
                <a:solidFill>
                  <a:schemeClr val="tx1"/>
                </a:solidFill>
              </a:defRPr>
            </a:lvl4pPr>
            <a:lvl5pPr marL="81198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27099E3C-EACD-DE47-9BC7-99AC4CB611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1" y="4573907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68686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>
          <p15:clr>
            <a:srgbClr val="FBAE40"/>
          </p15:clr>
        </p15:guide>
        <p15:guide id="2" pos="5567">
          <p15:clr>
            <a:srgbClr val="FBAE40"/>
          </p15:clr>
        </p15:guide>
        <p15:guide id="3" orient="horz" pos="599">
          <p15:clr>
            <a:srgbClr val="FBAE40"/>
          </p15:clr>
        </p15:guide>
        <p15:guide id="4" orient="horz" pos="2828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3EF3E35-7BAC-4DAC-BF73-B39646774A9D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°›</a:t>
            </a:fld>
            <a:endParaRPr dirty="0"/>
          </a:p>
        </p:txBody>
      </p:sp>
      <p:sp>
        <p:nvSpPr>
          <p:cNvPr id="11" name="Rectangle 5">
            <a:extLst>
              <a:ext uri="{FF2B5EF4-FFF2-40B4-BE49-F238E27FC236}">
                <a16:creationId xmlns:a16="http://schemas.microsoft.com/office/drawing/2014/main" id="{4E0521D8-6A60-4405-94E6-87B45B43D5AB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4F3790A2-3ED4-476F-AF15-FF864ED2281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9/02/2026</a:t>
            </a:fld>
            <a:endParaRPr lang="en-GB" dirty="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FA1B33D0-BDFD-A646-8606-99083F58B0E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3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3" indent="0">
              <a:buNone/>
              <a:defRPr sz="450">
                <a:solidFill>
                  <a:schemeClr val="tx1"/>
                </a:solidFill>
              </a:defRPr>
            </a:lvl2pPr>
            <a:lvl3pPr marL="408374" indent="0">
              <a:buNone/>
              <a:defRPr sz="450">
                <a:solidFill>
                  <a:schemeClr val="tx1"/>
                </a:solidFill>
              </a:defRPr>
            </a:lvl3pPr>
            <a:lvl4pPr marL="608395" indent="0">
              <a:buNone/>
              <a:defRPr sz="450">
                <a:solidFill>
                  <a:schemeClr val="tx1"/>
                </a:solidFill>
              </a:defRPr>
            </a:lvl4pPr>
            <a:lvl5pPr marL="81198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873971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>
          <p15:clr>
            <a:srgbClr val="FBAE40"/>
          </p15:clr>
        </p15:guide>
        <p15:guide id="2" pos="5567">
          <p15:clr>
            <a:srgbClr val="FBAE40"/>
          </p15:clr>
        </p15:guide>
        <p15:guide id="3" orient="horz" pos="599">
          <p15:clr>
            <a:srgbClr val="FBAE40"/>
          </p15:clr>
        </p15:guide>
        <p15:guide id="4" orient="horz" pos="2828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3" y="270000"/>
            <a:ext cx="8514009" cy="51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00D8D745-A917-4544-B52C-C167B938FC8F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°›</a:t>
            </a:fld>
            <a:endParaRPr dirty="0"/>
          </a:p>
        </p:txBody>
      </p:sp>
      <p:sp>
        <p:nvSpPr>
          <p:cNvPr id="10" name="Rectangle 5">
            <a:extLst>
              <a:ext uri="{FF2B5EF4-FFF2-40B4-BE49-F238E27FC236}">
                <a16:creationId xmlns:a16="http://schemas.microsoft.com/office/drawing/2014/main" id="{18736158-736B-4C99-AE3E-5DE67DF6BB4E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5B403315-6CB3-4D1B-932F-9111D4E0AC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9/02/2026</a:t>
            </a:fld>
            <a:endParaRPr lang="en-GB" dirty="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27EA66CC-1E16-FA43-950B-42C28BA0C13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3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3" indent="0">
              <a:buNone/>
              <a:defRPr sz="450">
                <a:solidFill>
                  <a:schemeClr val="tx1"/>
                </a:solidFill>
              </a:defRPr>
            </a:lvl2pPr>
            <a:lvl3pPr marL="408374" indent="0">
              <a:buNone/>
              <a:defRPr sz="450">
                <a:solidFill>
                  <a:schemeClr val="tx1"/>
                </a:solidFill>
              </a:defRPr>
            </a:lvl3pPr>
            <a:lvl4pPr marL="608395" indent="0">
              <a:buNone/>
              <a:defRPr sz="450">
                <a:solidFill>
                  <a:schemeClr val="tx1"/>
                </a:solidFill>
              </a:defRPr>
            </a:lvl4pPr>
            <a:lvl5pPr marL="81198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A1501E54-557F-9B4F-AA23-CC2DB54C46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1" y="4573907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2297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>
          <p15:clr>
            <a:srgbClr val="FBAE40"/>
          </p15:clr>
        </p15:guide>
        <p15:guide id="2" pos="5567">
          <p15:clr>
            <a:srgbClr val="FBAE40"/>
          </p15:clr>
        </p15:guide>
        <p15:guide id="3" orient="horz" pos="599">
          <p15:clr>
            <a:srgbClr val="FBAE40"/>
          </p15:clr>
        </p15:guide>
        <p15:guide id="4" orient="horz" pos="28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3" y="945000"/>
            <a:ext cx="8514009" cy="3564000"/>
          </a:xfrm>
        </p:spPr>
        <p:txBody>
          <a:bodyPr/>
          <a:lstStyle>
            <a:lvl1pPr>
              <a:buClr>
                <a:schemeClr val="tx1"/>
              </a:buClr>
              <a:defRPr/>
            </a:lvl1pPr>
            <a:lvl2pPr>
              <a:buClr>
                <a:schemeClr val="tx1"/>
              </a:buCl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6">
            <a:extLst>
              <a:ext uri="{FF2B5EF4-FFF2-40B4-BE49-F238E27FC236}">
                <a16:creationId xmlns:a16="http://schemas.microsoft.com/office/drawing/2014/main" id="{81D067FA-704F-4565-BD79-FEDF669F1EFC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°›</a:t>
            </a:fld>
            <a:endParaRPr dirty="0"/>
          </a:p>
        </p:txBody>
      </p:sp>
      <p:sp>
        <p:nvSpPr>
          <p:cNvPr id="13" name="Rectangle 5">
            <a:extLst>
              <a:ext uri="{FF2B5EF4-FFF2-40B4-BE49-F238E27FC236}">
                <a16:creationId xmlns:a16="http://schemas.microsoft.com/office/drawing/2014/main" id="{E393F749-AC7C-4FC3-8474-84925B26C13D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CDF99922-1635-4F71-88B4-1E28F3F26A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9/02/2026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713FA47A-9E60-7C45-BAC1-5BB4D7BFA80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3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3" indent="0">
              <a:buNone/>
              <a:defRPr sz="450">
                <a:solidFill>
                  <a:schemeClr val="tx1"/>
                </a:solidFill>
              </a:defRPr>
            </a:lvl2pPr>
            <a:lvl3pPr marL="408374" indent="0">
              <a:buNone/>
              <a:defRPr sz="450">
                <a:solidFill>
                  <a:schemeClr val="tx1"/>
                </a:solidFill>
              </a:defRPr>
            </a:lvl3pPr>
            <a:lvl4pPr marL="608395" indent="0">
              <a:buNone/>
              <a:defRPr sz="450">
                <a:solidFill>
                  <a:schemeClr val="tx1"/>
                </a:solidFill>
              </a:defRPr>
            </a:lvl4pPr>
            <a:lvl5pPr marL="81198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610836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67">
          <p15:clr>
            <a:srgbClr val="FBAE40"/>
          </p15:clr>
        </p15:guide>
        <p15:guide id="2" orient="horz" pos="599">
          <p15:clr>
            <a:srgbClr val="FBAE40"/>
          </p15:clr>
        </p15:guide>
        <p15:guide id="3" orient="horz" pos="2845">
          <p15:clr>
            <a:srgbClr val="FBAE40"/>
          </p15:clr>
        </p15:guide>
        <p15:guide id="4" pos="193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C919A1E-AF03-4E65-AB90-7B16340F5AF2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°›</a:t>
            </a:fld>
            <a:endParaRPr dirty="0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1D93099D-53F9-451B-BF59-BB728B4000D5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ECD7FB87-9E67-43F8-AAED-2A70B27779B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9/02/2026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E20018B4-4626-1A4B-9344-746CC8AD38F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3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3" indent="0">
              <a:buNone/>
              <a:defRPr sz="450">
                <a:solidFill>
                  <a:schemeClr val="tx1"/>
                </a:solidFill>
              </a:defRPr>
            </a:lvl2pPr>
            <a:lvl3pPr marL="408374" indent="0">
              <a:buNone/>
              <a:defRPr sz="450">
                <a:solidFill>
                  <a:schemeClr val="tx1"/>
                </a:solidFill>
              </a:defRPr>
            </a:lvl3pPr>
            <a:lvl4pPr marL="608395" indent="0">
              <a:buNone/>
              <a:defRPr sz="450">
                <a:solidFill>
                  <a:schemeClr val="tx1"/>
                </a:solidFill>
              </a:defRPr>
            </a:lvl4pPr>
            <a:lvl5pPr marL="81198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3125F03B-012D-5B4A-BC3C-5084689584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1" y="4573907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239736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>
          <a:xfrm>
            <a:off x="438152" y="4743454"/>
            <a:ext cx="2281239" cy="20240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3260F9B5-82F2-46C7-8C55-2832DCCCBA2B}" type="datetime1">
              <a:rPr lang="en-GB"/>
              <a:pPr/>
              <a:t>19/02/2026</a:t>
            </a:fld>
            <a:endParaRPr lang="en-US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>
          <a:xfrm>
            <a:off x="3228975" y="4743454"/>
            <a:ext cx="2895600" cy="20240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ArcelorMittal Altantique-Lorrain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EDE26BA-56EE-4C32-84A6-DB309C52D116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62412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&amp; Lon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3" y="270000"/>
            <a:ext cx="8514009" cy="51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3" y="945000"/>
            <a:ext cx="8514009" cy="356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Rectangle 6">
            <a:extLst>
              <a:ext uri="{FF2B5EF4-FFF2-40B4-BE49-F238E27FC236}">
                <a16:creationId xmlns:a16="http://schemas.microsoft.com/office/drawing/2014/main" id="{79A5DEB5-22C5-476C-A468-B2DD9C35F64A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°›</a:t>
            </a:fld>
            <a:endParaRPr dirty="0"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21EBDCD7-77A5-4BC7-96F7-DED46AF71EDD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83504EB2-1848-44C8-9FAD-B72B04C0D88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9/02/2026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54DC2FC-5160-BB48-8152-2941FC57776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3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3" indent="0">
              <a:buNone/>
              <a:defRPr sz="450">
                <a:solidFill>
                  <a:schemeClr val="tx1"/>
                </a:solidFill>
              </a:defRPr>
            </a:lvl2pPr>
            <a:lvl3pPr marL="408374" indent="0">
              <a:buNone/>
              <a:defRPr sz="450">
                <a:solidFill>
                  <a:schemeClr val="tx1"/>
                </a:solidFill>
              </a:defRPr>
            </a:lvl3pPr>
            <a:lvl4pPr marL="608395" indent="0">
              <a:buNone/>
              <a:defRPr sz="450">
                <a:solidFill>
                  <a:schemeClr val="tx1"/>
                </a:solidFill>
              </a:defRPr>
            </a:lvl4pPr>
            <a:lvl5pPr marL="81198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F615AB5E-0C86-BB44-A5E2-E04F5E251F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1" y="4573907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29118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>
          <p15:clr>
            <a:srgbClr val="FBAE40"/>
          </p15:clr>
        </p15:guide>
        <p15:guide id="2" pos="193">
          <p15:clr>
            <a:srgbClr val="FBAE40"/>
          </p15:clr>
        </p15:guide>
        <p15:guide id="3" orient="horz" pos="2845">
          <p15:clr>
            <a:srgbClr val="FBAE40"/>
          </p15:clr>
        </p15:guide>
        <p15:guide id="4" pos="5567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3" y="270000"/>
            <a:ext cx="8514009" cy="32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5991" y="945000"/>
            <a:ext cx="4050000" cy="3078000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70000" y="945000"/>
            <a:ext cx="4050000" cy="3078000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EB63F7A3-D2B3-45F4-BD1B-57C8EA149996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°›</a:t>
            </a:fld>
            <a:endParaRPr dirty="0"/>
          </a:p>
        </p:txBody>
      </p:sp>
      <p:sp>
        <p:nvSpPr>
          <p:cNvPr id="10" name="Rectangle 5">
            <a:extLst>
              <a:ext uri="{FF2B5EF4-FFF2-40B4-BE49-F238E27FC236}">
                <a16:creationId xmlns:a16="http://schemas.microsoft.com/office/drawing/2014/main" id="{8AC47872-D543-4BEF-BA7A-CB53103BE829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DEE9AE11-EE74-483E-A73A-9C916D29CA6C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9/02/2026</a:t>
            </a:fld>
            <a:endParaRPr lang="en-GB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31DA9F3-AC85-6A4E-BE52-E8DB7639589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07593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3" indent="0">
              <a:buNone/>
              <a:defRPr sz="450">
                <a:solidFill>
                  <a:schemeClr val="tx1"/>
                </a:solidFill>
              </a:defRPr>
            </a:lvl2pPr>
            <a:lvl3pPr marL="408374" indent="0">
              <a:buNone/>
              <a:defRPr sz="450">
                <a:solidFill>
                  <a:schemeClr val="tx1"/>
                </a:solidFill>
              </a:defRPr>
            </a:lvl3pPr>
            <a:lvl4pPr marL="608395" indent="0">
              <a:buNone/>
              <a:defRPr sz="450">
                <a:solidFill>
                  <a:schemeClr val="tx1"/>
                </a:solidFill>
              </a:defRPr>
            </a:lvl4pPr>
            <a:lvl5pPr marL="81198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55847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>
          <p15:clr>
            <a:srgbClr val="FBAE40"/>
          </p15:clr>
        </p15:guide>
        <p15:guide id="2" orient="horz" pos="599">
          <p15:clr>
            <a:srgbClr val="FBAE40"/>
          </p15:clr>
        </p15:guide>
        <p15:guide id="3" pos="5567">
          <p15:clr>
            <a:srgbClr val="FBAE40"/>
          </p15:clr>
        </p15:guide>
        <p15:guide id="4" orient="horz" pos="253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Two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3" y="270000"/>
            <a:ext cx="8514009" cy="513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Rectangle 6">
            <a:extLst>
              <a:ext uri="{FF2B5EF4-FFF2-40B4-BE49-F238E27FC236}">
                <a16:creationId xmlns:a16="http://schemas.microsoft.com/office/drawing/2014/main" id="{3AAC17B3-09B8-46B1-86DA-C442998FCF42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°›</a:t>
            </a:fld>
            <a:endParaRPr dirty="0"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AE7CD3C6-BAEE-46A0-B9A3-D5C64251D7A7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5243F8BA-4DDF-4B73-ADD4-92881531B269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9/02/2026</a:t>
            </a:fld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AC1E16F-74C5-F849-A8D3-197AB67107C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05991" y="945000"/>
            <a:ext cx="4050000" cy="3078000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81748EB0-AF6A-954E-80B0-F1F74302013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770000" y="945000"/>
            <a:ext cx="4050000" cy="3078000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FA8CD73C-7723-E14B-85A6-38A5D52880B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07593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3" indent="0">
              <a:buNone/>
              <a:defRPr sz="450">
                <a:solidFill>
                  <a:schemeClr val="tx1"/>
                </a:solidFill>
              </a:defRPr>
            </a:lvl2pPr>
            <a:lvl3pPr marL="408374" indent="0">
              <a:buNone/>
              <a:defRPr sz="450">
                <a:solidFill>
                  <a:schemeClr val="tx1"/>
                </a:solidFill>
              </a:defRPr>
            </a:lvl3pPr>
            <a:lvl4pPr marL="608395" indent="0">
              <a:buNone/>
              <a:defRPr sz="450">
                <a:solidFill>
                  <a:schemeClr val="tx1"/>
                </a:solidFill>
              </a:defRPr>
            </a:lvl4pPr>
            <a:lvl5pPr marL="81198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71BFF13-D877-F74E-A5B0-A85CEE173CA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1" y="4573907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7291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>
          <p15:clr>
            <a:srgbClr val="FBAE40"/>
          </p15:clr>
        </p15:guide>
        <p15:guide id="2" pos="193">
          <p15:clr>
            <a:srgbClr val="FBAE40"/>
          </p15:clr>
        </p15:guide>
        <p15:guide id="3" orient="horz" pos="2539">
          <p15:clr>
            <a:srgbClr val="FBAE40"/>
          </p15:clr>
        </p15:guide>
        <p15:guide id="4" pos="556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column Lon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3" y="270000"/>
            <a:ext cx="8514009" cy="32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E8F719EB-2A7D-4C10-A9AD-0BBE86E0A486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°›</a:t>
            </a:fld>
            <a:endParaRPr dirty="0"/>
          </a:p>
        </p:txBody>
      </p:sp>
      <p:sp>
        <p:nvSpPr>
          <p:cNvPr id="13" name="Rectangle 5">
            <a:extLst>
              <a:ext uri="{FF2B5EF4-FFF2-40B4-BE49-F238E27FC236}">
                <a16:creationId xmlns:a16="http://schemas.microsoft.com/office/drawing/2014/main" id="{CA2E85CE-3AE3-4AA3-A5BD-94D69F59F7A2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F37F3403-5329-4785-8644-DEA2BBBC78A8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9/02/2026</a:t>
            </a:fld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896D6C5-1818-EE46-BC2E-2EB5D519522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05991" y="945000"/>
            <a:ext cx="4050000" cy="3078000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739C7963-93F6-3C4E-8554-C1DB9E01CD9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770000" y="945000"/>
            <a:ext cx="4050000" cy="3078000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8D853B77-D0ED-5E42-8937-A010E9A288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07593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3" indent="0">
              <a:buNone/>
              <a:defRPr sz="450">
                <a:solidFill>
                  <a:schemeClr val="tx1"/>
                </a:solidFill>
              </a:defRPr>
            </a:lvl2pPr>
            <a:lvl3pPr marL="408374" indent="0">
              <a:buNone/>
              <a:defRPr sz="450">
                <a:solidFill>
                  <a:schemeClr val="tx1"/>
                </a:solidFill>
              </a:defRPr>
            </a:lvl3pPr>
            <a:lvl4pPr marL="608395" indent="0">
              <a:buNone/>
              <a:defRPr sz="450">
                <a:solidFill>
                  <a:schemeClr val="tx1"/>
                </a:solidFill>
              </a:defRPr>
            </a:lvl4pPr>
            <a:lvl5pPr marL="81198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38163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>
          <p15:clr>
            <a:srgbClr val="FBAE40"/>
          </p15:clr>
        </p15:guide>
        <p15:guide id="2" pos="193">
          <p15:clr>
            <a:srgbClr val="FBAE40"/>
          </p15:clr>
        </p15:guide>
        <p15:guide id="3" pos="5567">
          <p15:clr>
            <a:srgbClr val="FBAE40"/>
          </p15:clr>
        </p15:guide>
        <p15:guide id="4" orient="horz" pos="281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Two-column Lon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3" y="270000"/>
            <a:ext cx="8514009" cy="513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5" name="Rectangle 6">
            <a:extLst>
              <a:ext uri="{FF2B5EF4-FFF2-40B4-BE49-F238E27FC236}">
                <a16:creationId xmlns:a16="http://schemas.microsoft.com/office/drawing/2014/main" id="{AAAA88FF-220D-4AB3-8B0B-A6CD876FFE5C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°›</a:t>
            </a:fld>
            <a:endParaRPr dirty="0"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FF182B43-455B-4FEE-A520-1F6EAE411019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4D5B65EE-5102-41C9-B44A-138C20473668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9/02/2026</a:t>
            </a:fld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2CAD367-C7CD-7F4E-8AE4-1B9579E3A2B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05991" y="945000"/>
            <a:ext cx="4050000" cy="3078000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477D866E-2E81-AB4C-9A05-F09D4751D4E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770000" y="945000"/>
            <a:ext cx="4050000" cy="3078000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09EF25C3-C469-4A4F-8D0F-1D7FB7AEA8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07593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3" indent="0">
              <a:buNone/>
              <a:defRPr sz="450">
                <a:solidFill>
                  <a:schemeClr val="tx1"/>
                </a:solidFill>
              </a:defRPr>
            </a:lvl2pPr>
            <a:lvl3pPr marL="408374" indent="0">
              <a:buNone/>
              <a:defRPr sz="450">
                <a:solidFill>
                  <a:schemeClr val="tx1"/>
                </a:solidFill>
              </a:defRPr>
            </a:lvl3pPr>
            <a:lvl4pPr marL="608395" indent="0">
              <a:buNone/>
              <a:defRPr sz="450">
                <a:solidFill>
                  <a:schemeClr val="tx1"/>
                </a:solidFill>
              </a:defRPr>
            </a:lvl4pPr>
            <a:lvl5pPr marL="81198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4521330D-F5C7-554D-8E32-F75B8231D9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1" y="4573907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40504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>
          <p15:clr>
            <a:srgbClr val="FBAE40"/>
          </p15:clr>
        </p15:guide>
        <p15:guide id="2" orient="horz" pos="599">
          <p15:clr>
            <a:srgbClr val="FBAE40"/>
          </p15:clr>
        </p15:guide>
        <p15:guide id="3" pos="5567">
          <p15:clr>
            <a:srgbClr val="FBAE40"/>
          </p15:clr>
        </p15:guide>
        <p15:guide id="4" orient="horz" pos="281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3" y="270000"/>
            <a:ext cx="8514009" cy="324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5100" y="945000"/>
            <a:ext cx="4050000" cy="486000"/>
          </a:xfrm>
        </p:spPr>
        <p:txBody>
          <a:bodyPr/>
          <a:lstStyle>
            <a:lvl1pPr marL="563" indent="0">
              <a:buNone/>
              <a:defRPr sz="1400" b="1">
                <a:solidFill>
                  <a:schemeClr val="bg2"/>
                </a:solidFill>
              </a:defRPr>
            </a:lvl1pPr>
            <a:lvl2pPr marL="201398" indent="0">
              <a:buNone/>
              <a:defRPr sz="1050"/>
            </a:lvl2pPr>
            <a:lvl3pPr>
              <a:defRPr sz="825"/>
            </a:lvl3pPr>
            <a:lvl4pPr>
              <a:defRPr sz="825"/>
            </a:lvl4pPr>
            <a:lvl5pPr>
              <a:defRPr sz="825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1A6E24D0-F3C2-452A-832E-2C6DED5EB07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05103" y="1539000"/>
            <a:ext cx="4049687" cy="2916000"/>
          </a:xfrm>
        </p:spPr>
        <p:txBody>
          <a:bodyPr/>
          <a:lstStyle>
            <a:lvl1pPr marL="563" indent="0"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63C149B-0AE5-4517-8928-C3556769A76D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770000" y="945000"/>
            <a:ext cx="4050000" cy="486000"/>
          </a:xfrm>
        </p:spPr>
        <p:txBody>
          <a:bodyPr/>
          <a:lstStyle>
            <a:lvl1pPr marL="563" indent="0">
              <a:buNone/>
              <a:defRPr sz="1400" b="1">
                <a:solidFill>
                  <a:schemeClr val="bg2"/>
                </a:solidFill>
              </a:defRPr>
            </a:lvl1pPr>
            <a:lvl2pPr marL="201398" indent="0">
              <a:buNone/>
              <a:defRPr sz="1050"/>
            </a:lvl2pPr>
            <a:lvl3pPr>
              <a:defRPr sz="825"/>
            </a:lvl3pPr>
            <a:lvl4pPr>
              <a:defRPr sz="825"/>
            </a:lvl4pPr>
            <a:lvl5pPr>
              <a:defRPr sz="825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686F52B1-FDE3-4E14-9986-D219BFDBF5F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770316" y="1539000"/>
            <a:ext cx="4049687" cy="2916000"/>
          </a:xfrm>
        </p:spPr>
        <p:txBody>
          <a:bodyPr/>
          <a:lstStyle>
            <a:lvl1pPr marL="563" indent="0"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3" name="Rectangle 6">
            <a:extLst>
              <a:ext uri="{FF2B5EF4-FFF2-40B4-BE49-F238E27FC236}">
                <a16:creationId xmlns:a16="http://schemas.microsoft.com/office/drawing/2014/main" id="{59B239F7-4580-4877-A474-73AB5A8C1A01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°›</a:t>
            </a:fld>
            <a:endParaRPr dirty="0"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D2198827-0937-46D7-814E-35835DBBB399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F4DA6BB4-B5F8-4CFD-A8CC-C91F91FD62D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9/02/2026</a:t>
            </a:fld>
            <a:endParaRPr lang="en-GB" dirty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5982340-1903-2B4A-9E4E-2021DF377CB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3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3" indent="0">
              <a:buNone/>
              <a:defRPr sz="450">
                <a:solidFill>
                  <a:schemeClr val="tx1"/>
                </a:solidFill>
              </a:defRPr>
            </a:lvl2pPr>
            <a:lvl3pPr marL="408374" indent="0">
              <a:buNone/>
              <a:defRPr sz="450">
                <a:solidFill>
                  <a:schemeClr val="tx1"/>
                </a:solidFill>
              </a:defRPr>
            </a:lvl3pPr>
            <a:lvl4pPr marL="608395" indent="0">
              <a:buNone/>
              <a:defRPr sz="450">
                <a:solidFill>
                  <a:schemeClr val="tx1"/>
                </a:solidFill>
              </a:defRPr>
            </a:lvl4pPr>
            <a:lvl5pPr marL="81198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75638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>
          <p15:clr>
            <a:srgbClr val="FBAE40"/>
          </p15:clr>
        </p15:guide>
        <p15:guide id="2" orient="horz" pos="599">
          <p15:clr>
            <a:srgbClr val="FBAE40"/>
          </p15:clr>
        </p15:guide>
        <p15:guide id="3" pos="5567">
          <p15:clr>
            <a:srgbClr val="FBAE40"/>
          </p15:clr>
        </p15:guide>
        <p15:guide id="4" orient="horz" pos="281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37" Type="http://schemas.openxmlformats.org/officeDocument/2006/relationships/image" Target="../media/image3.sv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3"/>
            </p:custDataLst>
          </p:nvPr>
        </p:nvGraphicFramePr>
        <p:xfrm>
          <a:off x="1621" y="1196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360" imgH="360" progId="">
                  <p:embed/>
                </p:oleObj>
              </mc:Choice>
              <mc:Fallback>
                <p:oleObj name="think-cell Slide" r:id="rId34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196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5993" y="270000"/>
            <a:ext cx="8514009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5993" y="945000"/>
            <a:ext cx="8514009" cy="351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05991" y="4751461"/>
            <a:ext cx="1296000" cy="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Bef>
                <a:spcPct val="0"/>
              </a:spcBef>
              <a:defRPr lang="en-GB" sz="450" smtClean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 dirty="0"/>
              <a:t>Page </a:t>
            </a:r>
            <a:fld id="{72A704F9-61CA-4770-B270-3EB3A3A14010}" type="slidenum">
              <a:rPr smtClean="0"/>
              <a:pPr>
                <a:defRPr/>
              </a:pPr>
              <a:t>‹N°›</a:t>
            </a:fld>
            <a:endParaRPr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5E89B35-29B3-DC47-93BE-21746182294B}"/>
              </a:ext>
            </a:extLst>
          </p:cNvPr>
          <p:cNvPicPr>
            <a:picLocks noChangeAspect="1"/>
          </p:cNvPicPr>
          <p:nvPr userDrawn="1"/>
        </p:nvPicPr>
        <p:blipFill>
          <a:blip r:embed="rId3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7993651" y="4573907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4717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  <p:sldLayoutId id="2147483798" r:id="rId6"/>
    <p:sldLayoutId id="2147483799" r:id="rId7"/>
    <p:sldLayoutId id="2147483800" r:id="rId8"/>
    <p:sldLayoutId id="2147483801" r:id="rId9"/>
    <p:sldLayoutId id="2147483802" r:id="rId10"/>
    <p:sldLayoutId id="2147483803" r:id="rId11"/>
    <p:sldLayoutId id="2147483804" r:id="rId12"/>
    <p:sldLayoutId id="2147483805" r:id="rId13"/>
    <p:sldLayoutId id="2147483806" r:id="rId14"/>
    <p:sldLayoutId id="2147483807" r:id="rId15"/>
    <p:sldLayoutId id="2147483808" r:id="rId16"/>
    <p:sldLayoutId id="2147483809" r:id="rId17"/>
    <p:sldLayoutId id="2147483810" r:id="rId18"/>
    <p:sldLayoutId id="2147483811" r:id="rId19"/>
    <p:sldLayoutId id="2147483812" r:id="rId20"/>
    <p:sldLayoutId id="2147483813" r:id="rId21"/>
    <p:sldLayoutId id="2147483814" r:id="rId22"/>
    <p:sldLayoutId id="2147483815" r:id="rId23"/>
    <p:sldLayoutId id="2147483816" r:id="rId24"/>
    <p:sldLayoutId id="2147483817" r:id="rId25"/>
    <p:sldLayoutId id="2147483818" r:id="rId26"/>
    <p:sldLayoutId id="2147483819" r:id="rId27"/>
    <p:sldLayoutId id="2147483820" r:id="rId28"/>
    <p:sldLayoutId id="2147483821" r:id="rId29"/>
    <p:sldLayoutId id="2147483822" r:id="rId30"/>
    <p:sldLayoutId id="2147483823" r:id="rId31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 i="0" baseline="0">
          <a:solidFill>
            <a:schemeClr val="tx1"/>
          </a:solidFill>
          <a:latin typeface="+mj-lt"/>
          <a:ea typeface="MS PGothic" pitchFamily="34" charset="-128"/>
          <a:cs typeface="MS PGothic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25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25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25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25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5pPr>
      <a:lvl6pPr marL="342892" algn="l" rtl="0" eaLnBrk="1" fontAlgn="base" hangingPunct="1">
        <a:spcBef>
          <a:spcPct val="0"/>
        </a:spcBef>
        <a:spcAft>
          <a:spcPct val="0"/>
        </a:spcAft>
        <a:defRPr sz="2250">
          <a:solidFill>
            <a:schemeClr val="tx2"/>
          </a:solidFill>
          <a:latin typeface="Arial" pitchFamily="34" charset="0"/>
          <a:ea typeface="MS PGothic" pitchFamily="34" charset="-128"/>
        </a:defRPr>
      </a:lvl6pPr>
      <a:lvl7pPr marL="685783" algn="l" rtl="0" eaLnBrk="1" fontAlgn="base" hangingPunct="1">
        <a:spcBef>
          <a:spcPct val="0"/>
        </a:spcBef>
        <a:spcAft>
          <a:spcPct val="0"/>
        </a:spcAft>
        <a:defRPr sz="2250">
          <a:solidFill>
            <a:schemeClr val="tx2"/>
          </a:solidFill>
          <a:latin typeface="Arial" pitchFamily="34" charset="0"/>
          <a:ea typeface="MS PGothic" pitchFamily="34" charset="-128"/>
        </a:defRPr>
      </a:lvl7pPr>
      <a:lvl8pPr marL="1028675" algn="l" rtl="0" eaLnBrk="1" fontAlgn="base" hangingPunct="1">
        <a:spcBef>
          <a:spcPct val="0"/>
        </a:spcBef>
        <a:spcAft>
          <a:spcPct val="0"/>
        </a:spcAft>
        <a:defRPr sz="2250">
          <a:solidFill>
            <a:schemeClr val="tx2"/>
          </a:solidFill>
          <a:latin typeface="Arial" pitchFamily="34" charset="0"/>
          <a:ea typeface="MS PGothic" pitchFamily="34" charset="-128"/>
        </a:defRPr>
      </a:lvl8pPr>
      <a:lvl9pPr marL="1371566" algn="l" rtl="0" eaLnBrk="1" fontAlgn="base" hangingPunct="1">
        <a:spcBef>
          <a:spcPct val="0"/>
        </a:spcBef>
        <a:spcAft>
          <a:spcPct val="0"/>
        </a:spcAft>
        <a:defRPr sz="2250">
          <a:solidFill>
            <a:schemeClr val="tx2"/>
          </a:solidFill>
          <a:latin typeface="Arial" pitchFamily="34" charset="0"/>
          <a:ea typeface="MS PGothic" pitchFamily="34" charset="-128"/>
        </a:defRPr>
      </a:lvl9pPr>
    </p:titleStyle>
    <p:bodyStyle>
      <a:lvl1pPr marL="186296" indent="-185733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200">
          <a:solidFill>
            <a:schemeClr val="tx1"/>
          </a:solidFill>
          <a:latin typeface="+mn-lt"/>
          <a:ea typeface="MS PGothic" pitchFamily="34" charset="-128"/>
          <a:cs typeface="MS PGothic"/>
        </a:defRPr>
      </a:lvl1pPr>
      <a:lvl2pPr marL="404990" indent="-203592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000">
          <a:solidFill>
            <a:schemeClr val="tx1"/>
          </a:solidFill>
          <a:latin typeface="+mn-lt"/>
          <a:ea typeface="MS PGothic" pitchFamily="34" charset="-128"/>
          <a:cs typeface="MS PGothic"/>
        </a:defRPr>
      </a:lvl2pPr>
      <a:lvl3pPr marL="607204" indent="-19883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800">
          <a:solidFill>
            <a:schemeClr val="tx1"/>
          </a:solidFill>
          <a:latin typeface="+mn-lt"/>
          <a:ea typeface="MS PGothic" pitchFamily="34" charset="-128"/>
          <a:cs typeface="MS PGothic"/>
        </a:defRPr>
      </a:lvl3pPr>
      <a:lvl4pPr marL="810796" indent="-202401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800">
          <a:solidFill>
            <a:schemeClr val="tx1"/>
          </a:solidFill>
          <a:latin typeface="+mn-lt"/>
          <a:ea typeface="MS PGothic" pitchFamily="34" charset="-128"/>
          <a:cs typeface="MS PGothic"/>
        </a:defRPr>
      </a:lvl4pPr>
      <a:lvl5pPr marL="1014388" indent="-202401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»"/>
        <a:defRPr sz="800">
          <a:solidFill>
            <a:schemeClr val="tx1"/>
          </a:solidFill>
          <a:latin typeface="+mn-lt"/>
          <a:ea typeface="MS PGothic" pitchFamily="34" charset="-128"/>
          <a:cs typeface="MS PGothic"/>
        </a:defRPr>
      </a:lvl5pPr>
      <a:lvl6pPr marL="1357279" indent="-202401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»"/>
        <a:defRPr sz="1050">
          <a:solidFill>
            <a:srgbClr val="333333"/>
          </a:solidFill>
          <a:latin typeface="+mn-lt"/>
          <a:ea typeface="+mn-ea"/>
        </a:defRPr>
      </a:lvl6pPr>
      <a:lvl7pPr marL="1700171" indent="-202401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»"/>
        <a:defRPr sz="1050">
          <a:solidFill>
            <a:srgbClr val="333333"/>
          </a:solidFill>
          <a:latin typeface="+mn-lt"/>
          <a:ea typeface="+mn-ea"/>
        </a:defRPr>
      </a:lvl7pPr>
      <a:lvl8pPr marL="2043062" indent="-202401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»"/>
        <a:defRPr sz="1050">
          <a:solidFill>
            <a:srgbClr val="333333"/>
          </a:solidFill>
          <a:latin typeface="+mn-lt"/>
          <a:ea typeface="+mn-ea"/>
        </a:defRPr>
      </a:lvl8pPr>
      <a:lvl9pPr marL="2385953" indent="-202401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»"/>
        <a:defRPr sz="1050">
          <a:solidFill>
            <a:srgbClr val="333333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6786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58046" y="255685"/>
            <a:ext cx="5286375" cy="326231"/>
          </a:xfrm>
        </p:spPr>
        <p:txBody>
          <a:bodyPr anchor="t"/>
          <a:lstStyle/>
          <a:p>
            <a:pPr>
              <a:tabLst>
                <a:tab pos="3496778" algn="ctr"/>
              </a:tabLst>
            </a:pPr>
            <a:r>
              <a:rPr lang="fr-FR" sz="1800" dirty="0">
                <a:solidFill>
                  <a:srgbClr val="696969"/>
                </a:solidFill>
                <a:ea typeface="+mj-lt"/>
                <a:cs typeface="+mj-lt"/>
              </a:rPr>
              <a:t>Le respect des règles sauve des vies</a:t>
            </a:r>
            <a:endParaRPr lang="fr-FR" dirty="0"/>
          </a:p>
        </p:txBody>
      </p:sp>
      <p:sp>
        <p:nvSpPr>
          <p:cNvPr id="2166788" name="Rectangle 74"/>
          <p:cNvSpPr>
            <a:spLocks noChangeArrowheads="1"/>
          </p:cNvSpPr>
          <p:nvPr/>
        </p:nvSpPr>
        <p:spPr bwMode="auto">
          <a:xfrm>
            <a:off x="2009779" y="-353616"/>
            <a:ext cx="184731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marR="0" lvl="0" indent="0" algn="l" defTabSz="342892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900" b="0" i="0" u="none" strike="noStrike" kern="1200" cap="none" spc="0" normalizeH="0" baseline="0" noProof="0" dirty="0">
              <a:ln>
                <a:noFill/>
              </a:ln>
              <a:solidFill>
                <a:srgbClr val="414141"/>
              </a:solidFill>
              <a:effectLst/>
              <a:uLnTx/>
              <a:uFillTx/>
              <a:latin typeface="Arial"/>
              <a:ea typeface="MS PGothic"/>
              <a:cs typeface="+mn-cs"/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6BEFBF8C-A35B-435C-9971-B68D8542AC4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84564" y="220779"/>
            <a:ext cx="1027695" cy="3354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marL="0" marR="0" lvl="0" indent="0" algn="l" defTabSz="34289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Tx/>
              <a:buFontTx/>
              <a:buNone/>
              <a:tabLst/>
              <a:defRPr/>
            </a:pPr>
            <a:r>
              <a:rPr kumimoji="0" lang="fr-CH" altLang="en-US" sz="1200" b="1" i="1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MS PGothic"/>
                <a:cs typeface="+mj-cs"/>
              </a:rPr>
              <a:t>Photos</a:t>
            </a:r>
            <a:endParaRPr kumimoji="0" lang="en-US" altLang="en-US" sz="1200" b="1" i="1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MS PGothic"/>
              <a:cs typeface="+mj-cs"/>
            </a:endParaRPr>
          </a:p>
        </p:txBody>
      </p:sp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04CE0B93-C5F2-4086-A9CD-135E47D93A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16125885"/>
              </p:ext>
            </p:extLst>
          </p:nvPr>
        </p:nvGraphicFramePr>
        <p:xfrm>
          <a:off x="539714" y="929410"/>
          <a:ext cx="4459006" cy="28423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05461">
                  <a:extLst>
                    <a:ext uri="{9D8B030D-6E8A-4147-A177-3AD203B41FA5}">
                      <a16:colId xmlns:a16="http://schemas.microsoft.com/office/drawing/2014/main" val="4082441174"/>
                    </a:ext>
                  </a:extLst>
                </a:gridCol>
                <a:gridCol w="3253545">
                  <a:extLst>
                    <a:ext uri="{9D8B030D-6E8A-4147-A177-3AD203B41FA5}">
                      <a16:colId xmlns:a16="http://schemas.microsoft.com/office/drawing/2014/main" val="164357189"/>
                    </a:ext>
                  </a:extLst>
                </a:gridCol>
              </a:tblGrid>
              <a:tr h="205919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b="0" dirty="0">
                          <a:solidFill>
                            <a:schemeClr val="bg1"/>
                          </a:solidFill>
                          <a:effectLst/>
                        </a:rPr>
                        <a:t>Date &amp; Heur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3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7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7/01/2026 – 08h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5340081"/>
                  </a:ext>
                </a:extLst>
              </a:tr>
              <a:tr h="270966">
                <a:tc>
                  <a:txBody>
                    <a:bodyPr/>
                    <a:lstStyle/>
                    <a:p>
                      <a:r>
                        <a:rPr lang="fr-FR" sz="700" b="0" dirty="0">
                          <a:solidFill>
                            <a:schemeClr val="bg1"/>
                          </a:solidFill>
                          <a:effectLst/>
                        </a:rPr>
                        <a:t>Site / Secteu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3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47625" lvl="0" indent="0" algn="l" rtl="0" fontAlgn="base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LORANGE - AUTO INDUSTRIE STE AGATHE - FL-CSSCT4 – Galsa2, BT Av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6273717"/>
                  </a:ext>
                </a:extLst>
              </a:tr>
              <a:tr h="184141">
                <a:tc>
                  <a:txBody>
                    <a:bodyPr/>
                    <a:lstStyle/>
                    <a:p>
                      <a:r>
                        <a:rPr lang="fr-FR" sz="700" b="0" dirty="0">
                          <a:solidFill>
                            <a:schemeClr val="bg1"/>
                          </a:solidFill>
                          <a:effectLst/>
                        </a:rPr>
                        <a:t>Qui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3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700" dirty="0" err="1"/>
                        <a:t>Industeam</a:t>
                      </a:r>
                      <a:endParaRPr lang="fr-FR" sz="7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124224"/>
                  </a:ext>
                </a:extLst>
              </a:tr>
              <a:tr h="205542">
                <a:tc>
                  <a:txBody>
                    <a:bodyPr/>
                    <a:lstStyle/>
                    <a:p>
                      <a:r>
                        <a:rPr lang="fr-FR" sz="600" b="0" dirty="0">
                          <a:solidFill>
                            <a:schemeClr val="bg1"/>
                          </a:solidFill>
                          <a:effectLst/>
                        </a:rPr>
                        <a:t>Fait pa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3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7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. MASS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3072520"/>
                  </a:ext>
                </a:extLst>
              </a:tr>
              <a:tr h="1231745">
                <a:tc>
                  <a:txBody>
                    <a:bodyPr/>
                    <a:lstStyle/>
                    <a:p>
                      <a:r>
                        <a:rPr lang="fr-FR" sz="700" b="0" dirty="0">
                          <a:solidFill>
                            <a:schemeClr val="bg1"/>
                          </a:solidFill>
                          <a:effectLst/>
                        </a:rPr>
                        <a:t>Description de la bonne pratique – bon comporte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3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b="1" u="sng" kern="1200" dirty="0">
                          <a:solidFill>
                            <a:srgbClr val="00823B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texte</a:t>
                      </a:r>
                      <a:r>
                        <a:rPr lang="fr-FR" sz="700" b="1" kern="1200" dirty="0">
                          <a:solidFill>
                            <a:srgbClr val="00823B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: intervention de l’entreprise extérieure </a:t>
                      </a:r>
                      <a:r>
                        <a:rPr lang="fr-FR" sz="700" b="1" kern="1200" dirty="0" err="1">
                          <a:solidFill>
                            <a:srgbClr val="00823B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dusteam</a:t>
                      </a:r>
                      <a:r>
                        <a:rPr lang="fr-FR" sz="700" b="1" kern="1200" dirty="0">
                          <a:solidFill>
                            <a:srgbClr val="00823B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lors de l’arrêt programmé de maintenance Galsa2 -&gt; entretien mécanique du réducteur du treuil de l’accumulateur</a:t>
                      </a: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7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ors de la prise de poste, les agents </a:t>
                      </a:r>
                      <a:r>
                        <a:rPr lang="fr-FR" sz="7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dusteam</a:t>
                      </a:r>
                      <a:r>
                        <a:rPr lang="fr-FR" sz="7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ont constaté, au moment du remplissage de la check-list de déclinaison, que les brochages de l’accumulateur n’ont pas été mis en place lors du conditionnement. </a:t>
                      </a: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7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 fait, les agents ont coché la case « non » sur ladite check-list et ont immédiatement contacté le donneur d’ordre. Les travaux ont finalement été annulés et reportés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34565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fr-FR" sz="700" b="0" dirty="0">
                          <a:solidFill>
                            <a:schemeClr val="bg1"/>
                          </a:solidFill>
                          <a:effectLst/>
                        </a:rPr>
                        <a:t>Risque contrôlé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3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crasé par une machine en mouve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23354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b="0" dirty="0">
                          <a:solidFill>
                            <a:schemeClr val="bg1"/>
                          </a:solidFill>
                          <a:effectLst/>
                        </a:rPr>
                        <a:t>Potentiel de gravité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3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b="1" kern="1200" dirty="0">
                          <a:solidFill>
                            <a:schemeClr val="tx2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Critiqu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1357175"/>
                  </a:ext>
                </a:extLst>
              </a:tr>
              <a:tr h="266760">
                <a:tc>
                  <a:txBody>
                    <a:bodyPr/>
                    <a:lstStyle/>
                    <a:p>
                      <a:r>
                        <a:rPr lang="fr-FR" sz="700" b="0" dirty="0">
                          <a:solidFill>
                            <a:schemeClr val="bg1"/>
                          </a:solidFill>
                          <a:effectLst/>
                        </a:rPr>
                        <a:t>Destinataire</a:t>
                      </a:r>
                      <a:endParaRPr lang="fr-FR" sz="4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3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700" dirty="0"/>
                        <a:t>Ensemble des intervenants EEX ou AMF sur un chanti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9646137"/>
                  </a:ext>
                </a:extLst>
              </a:tr>
            </a:tbl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DB7E3CCA-6CB9-44FE-8B5B-184714D9D8A8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-686999" y="2020086"/>
            <a:ext cx="2006218" cy="2798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>
              <a:buClr>
                <a:srgbClr val="FF0000"/>
              </a:buClr>
            </a:pPr>
            <a:r>
              <a:rPr lang="fr-CH" altLang="en-US" sz="1200" b="1" i="1" kern="0" dirty="0">
                <a:solidFill>
                  <a:schemeClr val="tx1"/>
                </a:solidFill>
              </a:rPr>
              <a:t>Description</a:t>
            </a:r>
            <a:endParaRPr lang="en-US" altLang="en-US" sz="1200" b="1" i="1" kern="0" dirty="0">
              <a:solidFill>
                <a:schemeClr val="tx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2E3B30C-ECB4-4B82-AF6E-6B9262540247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-99673" y="4122038"/>
            <a:ext cx="831567" cy="4472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>
              <a:buClr>
                <a:srgbClr val="FF0000"/>
              </a:buClr>
            </a:pPr>
            <a:r>
              <a:rPr lang="fr-CH" altLang="en-US" sz="1200" b="1" i="1" kern="0" dirty="0">
                <a:solidFill>
                  <a:schemeClr val="tx1"/>
                </a:solidFill>
              </a:rPr>
              <a:t>Actions</a:t>
            </a:r>
            <a:endParaRPr lang="en-US" altLang="en-US" sz="1200" b="1" i="1" kern="0" dirty="0">
              <a:solidFill>
                <a:schemeClr val="tx1"/>
              </a:solidFill>
            </a:endParaRPr>
          </a:p>
        </p:txBody>
      </p:sp>
      <p:graphicFrame>
        <p:nvGraphicFramePr>
          <p:cNvPr id="9" name="Tableau 8">
            <a:extLst>
              <a:ext uri="{FF2B5EF4-FFF2-40B4-BE49-F238E27FC236}">
                <a16:creationId xmlns:a16="http://schemas.microsoft.com/office/drawing/2014/main" id="{6B247213-BB50-489E-8D80-5707E1E13E0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105334"/>
              </p:ext>
            </p:extLst>
          </p:nvPr>
        </p:nvGraphicFramePr>
        <p:xfrm>
          <a:off x="539714" y="4041378"/>
          <a:ext cx="4459006" cy="6021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2743">
                  <a:extLst>
                    <a:ext uri="{9D8B030D-6E8A-4147-A177-3AD203B41FA5}">
                      <a16:colId xmlns:a16="http://schemas.microsoft.com/office/drawing/2014/main" val="4082441174"/>
                    </a:ext>
                  </a:extLst>
                </a:gridCol>
                <a:gridCol w="3246263">
                  <a:extLst>
                    <a:ext uri="{9D8B030D-6E8A-4147-A177-3AD203B41FA5}">
                      <a16:colId xmlns:a16="http://schemas.microsoft.com/office/drawing/2014/main" val="164357189"/>
                    </a:ext>
                  </a:extLst>
                </a:gridCol>
              </a:tblGrid>
              <a:tr h="1433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b="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alorisa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3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élicitations verbales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6273717"/>
                  </a:ext>
                </a:extLst>
              </a:tr>
              <a:tr h="40398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b="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ansposi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3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ise en œuvre du STOP chantier formalisé au travers de la check-list de déclinais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124224"/>
                  </a:ext>
                </a:extLst>
              </a:tr>
            </a:tbl>
          </a:graphicData>
        </a:graphic>
      </p:graphicFrame>
      <p:pic>
        <p:nvPicPr>
          <p:cNvPr id="10" name="Picture 6">
            <a:extLst>
              <a:ext uri="{FF2B5EF4-FFF2-40B4-BE49-F238E27FC236}">
                <a16:creationId xmlns:a16="http://schemas.microsoft.com/office/drawing/2014/main" id="{56D4A735-4124-4648-87E8-01B33C2F62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86631" y="122436"/>
            <a:ext cx="399323" cy="433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3" name="Groupe 12">
            <a:extLst>
              <a:ext uri="{FF2B5EF4-FFF2-40B4-BE49-F238E27FC236}">
                <a16:creationId xmlns:a16="http://schemas.microsoft.com/office/drawing/2014/main" id="{753E83B2-3E77-FF39-AB51-9592C9FBC4BD}"/>
              </a:ext>
            </a:extLst>
          </p:cNvPr>
          <p:cNvGrpSpPr/>
          <p:nvPr/>
        </p:nvGrpSpPr>
        <p:grpSpPr>
          <a:xfrm>
            <a:off x="5084564" y="580552"/>
            <a:ext cx="3346027" cy="2035069"/>
            <a:chOff x="5084564" y="693887"/>
            <a:chExt cx="3346027" cy="2035069"/>
          </a:xfrm>
        </p:grpSpPr>
        <p:pic>
          <p:nvPicPr>
            <p:cNvPr id="2" name="Image 1">
              <a:extLst>
                <a:ext uri="{FF2B5EF4-FFF2-40B4-BE49-F238E27FC236}">
                  <a16:creationId xmlns:a16="http://schemas.microsoft.com/office/drawing/2014/main" id="{8B518E98-B4E0-18E9-27C2-5BC23B04CC7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6200000">
              <a:off x="5423742" y="354709"/>
              <a:ext cx="2035069" cy="2713425"/>
            </a:xfrm>
            <a:prstGeom prst="rect">
              <a:avLst/>
            </a:prstGeom>
          </p:spPr>
        </p:pic>
        <p:cxnSp>
          <p:nvCxnSpPr>
            <p:cNvPr id="4" name="Connecteur droit avec flèche 3">
              <a:extLst>
                <a:ext uri="{FF2B5EF4-FFF2-40B4-BE49-F238E27FC236}">
                  <a16:creationId xmlns:a16="http://schemas.microsoft.com/office/drawing/2014/main" id="{F0DA3525-C8B8-3EAE-6E4C-4D8C2FF5DC7A}"/>
                </a:ext>
              </a:extLst>
            </p:cNvPr>
            <p:cNvCxnSpPr>
              <a:cxnSpLocks/>
            </p:cNvCxnSpPr>
            <p:nvPr/>
          </p:nvCxnSpPr>
          <p:spPr bwMode="auto">
            <a:xfrm flipH="1" flipV="1">
              <a:off x="6312608" y="2146491"/>
              <a:ext cx="257335" cy="157021"/>
            </a:xfrm>
            <a:prstGeom prst="straightConnector1">
              <a:avLst/>
            </a:prstGeom>
            <a:noFill/>
            <a:ln w="285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11" name="ZoneTexte 10">
              <a:extLst>
                <a:ext uri="{FF2B5EF4-FFF2-40B4-BE49-F238E27FC236}">
                  <a16:creationId xmlns:a16="http://schemas.microsoft.com/office/drawing/2014/main" id="{1A3860F1-7BDB-EDB4-4989-24864BE5866E}"/>
                </a:ext>
              </a:extLst>
            </p:cNvPr>
            <p:cNvSpPr txBox="1"/>
            <p:nvPr/>
          </p:nvSpPr>
          <p:spPr>
            <a:xfrm>
              <a:off x="5084564" y="2305720"/>
              <a:ext cx="3346027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600" b="1" dirty="0">
                  <a:solidFill>
                    <a:schemeClr val="bg1"/>
                  </a:solidFill>
                  <a:highlight>
                    <a:srgbClr val="FF0000"/>
                  </a:highlight>
                </a:rPr>
                <a:t>« Les conditions d’intervention sont celles décrites dans l’ICP et/ou Coordination  ? »</a:t>
              </a:r>
            </a:p>
          </p:txBody>
        </p:sp>
      </p:grpSp>
      <p:pic>
        <p:nvPicPr>
          <p:cNvPr id="12" name="Image 11">
            <a:extLst>
              <a:ext uri="{FF2B5EF4-FFF2-40B4-BE49-F238E27FC236}">
                <a16:creationId xmlns:a16="http://schemas.microsoft.com/office/drawing/2014/main" id="{C062B86B-C5F5-41C4-E945-516DA1995EF2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858" b="10979"/>
          <a:stretch/>
        </p:blipFill>
        <p:spPr>
          <a:xfrm>
            <a:off x="5084564" y="2663829"/>
            <a:ext cx="3887435" cy="2308064"/>
          </a:xfrm>
          <a:prstGeom prst="rect">
            <a:avLst/>
          </a:prstGeom>
        </p:spPr>
      </p:pic>
      <p:sp>
        <p:nvSpPr>
          <p:cNvPr id="14" name="Ellipse 13">
            <a:extLst>
              <a:ext uri="{FF2B5EF4-FFF2-40B4-BE49-F238E27FC236}">
                <a16:creationId xmlns:a16="http://schemas.microsoft.com/office/drawing/2014/main" id="{280BE800-DD46-99D8-5A4F-1DA5D11B1F65}"/>
              </a:ext>
            </a:extLst>
          </p:cNvPr>
          <p:cNvSpPr/>
          <p:nvPr/>
        </p:nvSpPr>
        <p:spPr bwMode="auto">
          <a:xfrm>
            <a:off x="5084564" y="2663829"/>
            <a:ext cx="544076" cy="675424"/>
          </a:xfrm>
          <a:prstGeom prst="ellipse">
            <a:avLst/>
          </a:prstGeom>
          <a:noFill/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2400" b="0" i="0" u="none" strike="noStrike" cap="none" normalizeH="0" baseline="-25000">
              <a:ln>
                <a:noFill/>
              </a:ln>
              <a:solidFill>
                <a:srgbClr val="FAFFFF"/>
              </a:solidFill>
              <a:effectLst/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012BC652-9765-5C93-ACD7-6AF365066A02}"/>
              </a:ext>
            </a:extLst>
          </p:cNvPr>
          <p:cNvSpPr/>
          <p:nvPr/>
        </p:nvSpPr>
        <p:spPr bwMode="auto">
          <a:xfrm>
            <a:off x="8586630" y="3162757"/>
            <a:ext cx="362839" cy="675424"/>
          </a:xfrm>
          <a:prstGeom prst="ellipse">
            <a:avLst/>
          </a:prstGeom>
          <a:noFill/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2400" b="0" i="0" u="none" strike="noStrike" cap="none" normalizeH="0" baseline="-25000">
              <a:ln>
                <a:noFill/>
              </a:ln>
              <a:solidFill>
                <a:srgbClr val="FAFFFF"/>
              </a:solidFill>
              <a:effectLst/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67B319D2-D2FC-28C2-44C0-1A4DF3DCEBA3}"/>
              </a:ext>
            </a:extLst>
          </p:cNvPr>
          <p:cNvSpPr txBox="1"/>
          <p:nvPr/>
        </p:nvSpPr>
        <p:spPr>
          <a:xfrm>
            <a:off x="5639928" y="2902399"/>
            <a:ext cx="544076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b="1" dirty="0">
                <a:solidFill>
                  <a:schemeClr val="bg1"/>
                </a:solidFill>
                <a:highlight>
                  <a:srgbClr val="FF0000"/>
                </a:highlight>
              </a:rPr>
              <a:t>Brochage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09C3F0EC-E614-E999-D950-E055DE7F7A3C}"/>
              </a:ext>
            </a:extLst>
          </p:cNvPr>
          <p:cNvSpPr txBox="1"/>
          <p:nvPr/>
        </p:nvSpPr>
        <p:spPr>
          <a:xfrm>
            <a:off x="8037582" y="3446929"/>
            <a:ext cx="544076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b="1" dirty="0">
                <a:solidFill>
                  <a:schemeClr val="bg1"/>
                </a:solidFill>
                <a:highlight>
                  <a:srgbClr val="FF0000"/>
                </a:highlight>
              </a:rPr>
              <a:t>Brochage</a:t>
            </a:r>
          </a:p>
        </p:txBody>
      </p:sp>
    </p:spTree>
    <p:extLst>
      <p:ext uri="{BB962C8B-B14F-4D97-AF65-F5344CB8AC3E}">
        <p14:creationId xmlns:p14="http://schemas.microsoft.com/office/powerpoint/2010/main" val="8191344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9_PresentationV8">
  <a:themeElements>
    <a:clrScheme name="AM 2022">
      <a:dk1>
        <a:srgbClr val="414141"/>
      </a:dk1>
      <a:lt1>
        <a:srgbClr val="FFFFFF"/>
      </a:lt1>
      <a:dk2>
        <a:srgbClr val="FF3700"/>
      </a:dk2>
      <a:lt2>
        <a:srgbClr val="0070C0"/>
      </a:lt2>
      <a:accent1>
        <a:srgbClr val="460A78"/>
      </a:accent1>
      <a:accent2>
        <a:srgbClr val="BE2878"/>
      </a:accent2>
      <a:accent3>
        <a:srgbClr val="E63C41"/>
      </a:accent3>
      <a:accent4>
        <a:srgbClr val="F58746"/>
      </a:accent4>
      <a:accent5>
        <a:srgbClr val="FFBE6E"/>
      </a:accent5>
      <a:accent6>
        <a:srgbClr val="EAEAEA"/>
      </a:accent6>
      <a:hlink>
        <a:srgbClr val="505050"/>
      </a:hlink>
      <a:folHlink>
        <a:srgbClr val="414141"/>
      </a:folHlink>
    </a:clrScheme>
    <a:fontScheme name="PresentationV8">
      <a:majorFont>
        <a:latin typeface="Arial"/>
        <a:ea typeface="MS PGothic"/>
        <a:cs typeface=""/>
      </a:majorFont>
      <a:minorFont>
        <a:latin typeface="Arial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-25000" smtClean="0">
            <a:ln>
              <a:noFill/>
            </a:ln>
            <a:solidFill>
              <a:srgbClr val="FAFFFF"/>
            </a:solidFill>
            <a:effectLst/>
            <a:latin typeface="Arial" pitchFamily="34" charset="0"/>
            <a:ea typeface="MS PGothic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-25000" smtClean="0">
            <a:ln>
              <a:noFill/>
            </a:ln>
            <a:solidFill>
              <a:srgbClr val="FAFFFF"/>
            </a:solidFill>
            <a:effectLst/>
            <a:latin typeface="Arial" pitchFamily="34" charset="0"/>
            <a:ea typeface="MS PGothic" pitchFamily="34" charset="-128"/>
          </a:defRPr>
        </a:defPPr>
      </a:lstStyle>
    </a:lnDef>
  </a:objectDefaults>
  <a:extraClrSchemeLst>
    <a:extraClrScheme>
      <a:clrScheme name="PresentationV8 1">
        <a:dk1>
          <a:srgbClr val="696969"/>
        </a:dk1>
        <a:lt1>
          <a:srgbClr val="FFFFFF"/>
        </a:lt1>
        <a:dk2>
          <a:srgbClr val="FF3700"/>
        </a:dk2>
        <a:lt2>
          <a:srgbClr val="BAC48C"/>
        </a:lt2>
        <a:accent1>
          <a:srgbClr val="DCD4C2"/>
        </a:accent1>
        <a:accent2>
          <a:srgbClr val="C5BCA4"/>
        </a:accent2>
        <a:accent3>
          <a:srgbClr val="FFFFFF"/>
        </a:accent3>
        <a:accent4>
          <a:srgbClr val="595959"/>
        </a:accent4>
        <a:accent5>
          <a:srgbClr val="EBE6DD"/>
        </a:accent5>
        <a:accent6>
          <a:srgbClr val="B2AA94"/>
        </a:accent6>
        <a:hlink>
          <a:srgbClr val="8B819E"/>
        </a:hlink>
        <a:folHlink>
          <a:srgbClr val="9DB1C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ArcelorMittal template 16x9" id="{2080C811-E281-4F53-A338-B1B429535C64}" vid="{EAE1C29F-A62A-497F-AC0B-627198192CC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3cb4c4f3-739e-4aa5-beae-227d15357607">
      <Terms xmlns="http://schemas.microsoft.com/office/infopath/2007/PartnerControls"/>
    </lcf76f155ced4ddcb4097134ff3c332f>
    <TaxCatchAll xmlns="4fb86a62-c1d9-42d6-8d60-b003cc1d3223" xsi:nil="true"/>
    <Typededocument xmlns="3cb4c4f3-739e-4aa5-beae-227d15357607" xsi:nil="true"/>
    <SECURITE_x002f_ENVIRONNEMENT xmlns="3cb4c4f3-739e-4aa5-beae-227d15357607">Non</SECURITE_x002f_ENVIRONNEMENT>
    <Sauvegarde xmlns="3cb4c4f3-739e-4aa5-beae-227d15357607">false</Sauvegarde>
    <Pilote xmlns="3cb4c4f3-739e-4aa5-beae-227d15357607" xsi:nil="true"/>
    <Mod_x00e8_le_x002d_Template xmlns="3cb4c4f3-739e-4aa5-beae-227d15357607">false</Mod_x00e8_le_x002d_Template>
    <ProcessusS2 xmlns="3cb4c4f3-739e-4aa5-beae-227d15357607" xsi:nil="true"/>
    <LIGNE xmlns="3cb4c4f3-739e-4aa5-beae-227d15357607" xsi:nil="true"/>
    <ANNEE xmlns="3cb4c4f3-739e-4aa5-beae-227d15357607" xsi:nil="true"/>
    <INSTANCE xmlns="3cb4c4f3-739e-4aa5-beae-227d15357607" xsi:nil="true"/>
    <METIER xmlns="3cb4c4f3-739e-4aa5-beae-227d15357607" xsi:nil="true"/>
    <SERVICE xmlns="3cb4c4f3-739e-4aa5-beae-227d15357607" xsi:nil="true"/>
    <Pilote_x002d_Nom xmlns="3cb4c4f3-739e-4aa5-beae-227d15357607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C58F7C1E4D6604AA0092DA78D0E3037" ma:contentTypeVersion="27" ma:contentTypeDescription="Crée un document." ma:contentTypeScope="" ma:versionID="7cb0454b0c822ce7df465294b07d6620">
  <xsd:schema xmlns:xsd="http://www.w3.org/2001/XMLSchema" xmlns:xs="http://www.w3.org/2001/XMLSchema" xmlns:p="http://schemas.microsoft.com/office/2006/metadata/properties" xmlns:ns2="3cb4c4f3-739e-4aa5-beae-227d15357607" xmlns:ns3="4fb86a62-c1d9-42d6-8d60-b003cc1d3223" targetNamespace="http://schemas.microsoft.com/office/2006/metadata/properties" ma:root="true" ma:fieldsID="831370c34e32776a973f86f28b84de48" ns2:_="" ns3:_="">
    <xsd:import namespace="3cb4c4f3-739e-4aa5-beae-227d15357607"/>
    <xsd:import namespace="4fb86a62-c1d9-42d6-8d60-b003cc1d322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Locatio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ProcessusS2" minOccurs="0"/>
                <xsd:element ref="ns2:LIGNE" minOccurs="0"/>
                <xsd:element ref="ns2:SERVICE" minOccurs="0"/>
                <xsd:element ref="ns2:METIER" minOccurs="0"/>
                <xsd:element ref="ns2:Typededocument" minOccurs="0"/>
                <xsd:element ref="ns2:Mod_x00e8_le_x002d_Template" minOccurs="0"/>
                <xsd:element ref="ns2:Pilote" minOccurs="0"/>
                <xsd:element ref="ns2:ANNEE" minOccurs="0"/>
                <xsd:element ref="ns2:Sauvegarde" minOccurs="0"/>
                <xsd:element ref="ns2:SECURITE_x002f_ENVIRONNEMENT" minOccurs="0"/>
                <xsd:element ref="ns2:INSTANCE" minOccurs="0"/>
                <xsd:element ref="ns2:Pilote_x002d_Nom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cb4c4f3-739e-4aa5-beae-227d1535760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6" nillable="true" ma:displayName="Location" ma:indexed="true" ma:internalName="MediaServiceLocation" ma:readOnly="true">
      <xsd:simpleType>
        <xsd:restriction base="dms:Text"/>
      </xsd:simpleType>
    </xsd:element>
    <xsd:element name="lcf76f155ced4ddcb4097134ff3c332f" ma:index="20" nillable="true" ma:taxonomy="true" ma:internalName="lcf76f155ced4ddcb4097134ff3c332f" ma:taxonomyFieldName="MediaServiceImageTags" ma:displayName="Balises d’images" ma:readOnly="false" ma:fieldId="{5cf76f15-5ced-4ddc-b409-7134ff3c332f}" ma:taxonomyMulti="true" ma:sspId="e32adc4a-80e2-451e-aed1-639643a83f8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ProcessusS2" ma:index="23" nillable="true" ma:displayName="Processus S2" ma:format="Dropdown" ma:internalName="ProcessusS2">
      <xsd:simpleType>
        <xsd:restriction base="dms:Choice">
          <xsd:enumeration value="S2.1 - Stratégie, Organisation et Budget"/>
          <xsd:enumeration value="S2.2a - Plan de maintenance et fiabilisation"/>
          <xsd:enumeration value="S2.2b - Métrologie et contrôle réglementaire"/>
          <xsd:enumeration value="S2.3 - Préparer, Planifier et réaliser les travaux"/>
          <xsd:enumeration value="S2.4 - Manager la sous-traitance"/>
          <xsd:enumeration value="S2.5 - Pièces de rechange et consommables"/>
          <xsd:enumeration value="S2.6 - Projets d'amléioration et modifications"/>
          <xsd:enumeration value="S2.7 - Résultats et coûts de maintenance"/>
          <xsd:enumeration value="S2.8 - Outils de Gestion de la Maintenance"/>
        </xsd:restriction>
      </xsd:simpleType>
    </xsd:element>
    <xsd:element name="LIGNE" ma:index="24" nillable="true" ma:displayName="LIGNE" ma:format="Dropdown" ma:internalName="LIGNE">
      <xsd:simpleType>
        <xsd:restriction base="dms:Choice">
          <xsd:enumeration value="Communs Ste-Agathe"/>
          <xsd:enumeration value="Couplage"/>
          <xsd:enumeration value="Galsa1"/>
          <xsd:enumeration value="LiSA"/>
          <xsd:enumeration value="Galsa2"/>
          <xsd:enumeration value="RCM"/>
          <xsd:enumeration value="Auto-Industrie"/>
        </xsd:restriction>
      </xsd:simpleType>
    </xsd:element>
    <xsd:element name="SERVICE" ma:index="25" nillable="true" ma:displayName="SERVICE" ma:format="Dropdown" ma:internalName="SERVICE">
      <xsd:simpleType>
        <xsd:restriction base="dms:Choice">
          <xsd:enumeration value="BT"/>
          <xsd:enumeration value="Amont"/>
          <xsd:enumeration value="Aval"/>
          <xsd:enumeration value="Transverse Dépannage"/>
          <xsd:enumeration value="Transverse EEI"/>
          <xsd:enumeration value="Fiabilité"/>
        </xsd:restriction>
      </xsd:simpleType>
    </xsd:element>
    <xsd:element name="METIER" ma:index="26" nillable="true" ma:displayName="METIER" ma:format="Dropdown" ma:internalName="METIER">
      <xsd:simpleType>
        <xsd:restriction base="dms:Choice">
          <xsd:enumeration value="Fiabilité"/>
          <xsd:enumeration value="Méca/Hydro"/>
          <xsd:enumeration value="Elec/Electro"/>
          <xsd:enumeration value="Autom"/>
          <xsd:enumeration value="Instrum"/>
          <xsd:enumeration value="Fab"/>
          <xsd:enumeration value="Qualité"/>
        </xsd:restriction>
      </xsd:simpleType>
    </xsd:element>
    <xsd:element name="Typededocument" ma:index="27" nillable="true" ma:displayName="Type de document" ma:format="Dropdown" ma:internalName="Typededocument">
      <xsd:simpleType>
        <xsd:restriction base="dms:Choice">
          <xsd:enumeration value="Base Arrêts"/>
          <xsd:enumeration value="Fiab Hebdo"/>
          <xsd:enumeration value="Comité Processus S2"/>
          <xsd:enumeration value="Matrice Equipement"/>
          <xsd:enumeration value="Matrice de Criticité"/>
          <xsd:enumeration value="Gamme"/>
          <xsd:enumeration value="Arbres des Causes"/>
          <xsd:enumeration value="OnePage"/>
          <xsd:enumeration value="REX"/>
          <xsd:enumeration value="Cahier des Charges"/>
          <xsd:enumeration value="Sécurité"/>
          <xsd:enumeration value="Achats"/>
          <xsd:enumeration value="Benchmark"/>
          <xsd:enumeration value="FAD"/>
          <xsd:enumeration value="Compte rendu"/>
          <xsd:enumeration value="Réglementaire"/>
        </xsd:restriction>
      </xsd:simpleType>
    </xsd:element>
    <xsd:element name="Mod_x00e8_le_x002d_Template" ma:index="28" nillable="true" ma:displayName="Modèle - Template" ma:default="0" ma:format="Dropdown" ma:internalName="Mod_x00e8_le_x002d_Template">
      <xsd:simpleType>
        <xsd:restriction base="dms:Boolean"/>
      </xsd:simpleType>
    </xsd:element>
    <xsd:element name="Pilote" ma:index="29" nillable="true" ma:displayName="Pilote" ma:format="Dropdown" ma:internalName="Pilote">
      <xsd:simpleType>
        <xsd:restriction base="dms:Choice">
          <xsd:enumeration value="Fiabiliste"/>
          <xsd:enumeration value="Spécialistes"/>
          <xsd:enumeration value="Hydraulicien"/>
          <xsd:enumeration value="BT"/>
          <xsd:enumeration value="MOM"/>
          <xsd:enumeration value="MOZ"/>
          <xsd:enumeration value="GTP"/>
          <xsd:enumeration value="TZ"/>
          <xsd:enumeration value="CAE"/>
          <xsd:enumeration value="Supports"/>
          <xsd:enumeration value="CAE"/>
          <xsd:enumeration value="Supports"/>
        </xsd:restriction>
      </xsd:simpleType>
    </xsd:element>
    <xsd:element name="ANNEE" ma:index="30" nillable="true" ma:displayName="ANNEE" ma:format="Dropdown" ma:internalName="ANNEE" ma:percentage="FALSE">
      <xsd:simpleType>
        <xsd:restriction base="dms:Number"/>
      </xsd:simpleType>
    </xsd:element>
    <xsd:element name="Sauvegarde" ma:index="31" nillable="true" ma:displayName="Sauvegarde" ma:default="0" ma:format="Dropdown" ma:internalName="Sauvegarde">
      <xsd:simpleType>
        <xsd:restriction base="dms:Boolean"/>
      </xsd:simpleType>
    </xsd:element>
    <xsd:element name="SECURITE_x002f_ENVIRONNEMENT" ma:index="32" nillable="true" ma:displayName="SECURITE/ENVIRONNEMENT" ma:default="Non" ma:format="Dropdown" ma:internalName="SECURITE_x002f_ENVIRONNEMENT">
      <xsd:simpleType>
        <xsd:restriction base="dms:Choice">
          <xsd:enumeration value="SECURITE"/>
          <xsd:enumeration value="ENVIRONNEMENT"/>
          <xsd:enumeration value="Non"/>
        </xsd:restriction>
      </xsd:simpleType>
    </xsd:element>
    <xsd:element name="INSTANCE" ma:index="33" nillable="true" ma:displayName="INSTANCE" ma:format="Dropdown" ma:internalName="INSTANCE">
      <xsd:simpleType>
        <xsd:restriction base="dms:Choice">
          <xsd:enumeration value="ARMP"/>
          <xsd:enumeration value="BVC"/>
          <xsd:enumeration value="Commission Maintenance AMF"/>
          <xsd:enumeration value="Comité Incendie"/>
          <xsd:enumeration value="Construisons 2025"/>
          <xsd:enumeration value="Revue Auto-Industrie-MC"/>
          <xsd:enumeration value="Revue secteur MC-AAI"/>
          <xsd:enumeration value="Mensuelle Contrôle Réglementaire"/>
          <xsd:enumeration value="Commission Maintenance Achat"/>
          <xsd:enumeration value="RCFI BÂtiments &amp; Structures"/>
          <xsd:enumeration value="Revue secteur Bâtiments &amp; Structures"/>
        </xsd:restriction>
      </xsd:simpleType>
    </xsd:element>
    <xsd:element name="Pilote_x002d_Nom" ma:index="34" nillable="true" ma:displayName="Pilote-Nom" ma:format="Dropdown" ma:internalName="Pilote_x002d_Nom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fb86a62-c1d9-42d6-8d60-b003cc1d3223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999cb527-873d-4026-8eeb-3659af67808c}" ma:internalName="TaxCatchAll" ma:showField="CatchAllData" ma:web="4fb86a62-c1d9-42d6-8d60-b003cc1d322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3719E1B-A57F-4AB3-995D-19C06D2296F3}">
  <ds:schemaRefs>
    <ds:schemaRef ds:uri="95fbe278-3e2e-4777-9bcf-13dabedffd80"/>
    <ds:schemaRef ds:uri="http://schemas.openxmlformats.org/package/2006/metadata/core-properties"/>
    <ds:schemaRef ds:uri="http://www.w3.org/XML/1998/namespace"/>
    <ds:schemaRef ds:uri="http://purl.org/dc/elements/1.1/"/>
    <ds:schemaRef ds:uri="http://schemas.microsoft.com/office/infopath/2007/PartnerControls"/>
    <ds:schemaRef ds:uri="867efa26-afac-4cd3-bd30-ff412fd896a8"/>
    <ds:schemaRef ds:uri="http://schemas.microsoft.com/office/2006/documentManagement/types"/>
    <ds:schemaRef ds:uri="http://schemas.microsoft.com/office/2006/metadata/properties"/>
    <ds:schemaRef ds:uri="http://purl.org/dc/dcmitype/"/>
    <ds:schemaRef ds:uri="http://purl.org/dc/terms/"/>
    <ds:schemaRef ds:uri="3cb4c4f3-739e-4aa5-beae-227d15357607"/>
    <ds:schemaRef ds:uri="4fb86a62-c1d9-42d6-8d60-b003cc1d3223"/>
  </ds:schemaRefs>
</ds:datastoreItem>
</file>

<file path=customXml/itemProps2.xml><?xml version="1.0" encoding="utf-8"?>
<ds:datastoreItem xmlns:ds="http://schemas.openxmlformats.org/officeDocument/2006/customXml" ds:itemID="{81E2C6F7-7FBF-479A-8369-2358EF9050B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cb4c4f3-739e-4aa5-beae-227d15357607"/>
    <ds:schemaRef ds:uri="4fb86a62-c1d9-42d6-8d60-b003cc1d322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640607D-153B-4BD4-8816-BEA87B35CEE7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37cd273a-1cec-4aae-a297-41480ea54f8d}" enabled="0" method="" siteId="{37cd273a-1cec-4aae-a297-41480ea54f8d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741</TotalTime>
  <Words>204</Words>
  <Application>Microsoft Office PowerPoint</Application>
  <PresentationFormat>Affichage à l'écran (16:9)</PresentationFormat>
  <Paragraphs>34</Paragraphs>
  <Slides>1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2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5" baseType="lpstr">
      <vt:lpstr>Arial</vt:lpstr>
      <vt:lpstr>Calibri</vt:lpstr>
      <vt:lpstr>9_PresentationV8</vt:lpstr>
      <vt:lpstr>think-cell Slide</vt:lpstr>
      <vt:lpstr>Le respect des règles sauve des vi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jonghe, Christelle</dc:creator>
  <cp:lastModifiedBy>Mangeot, Christel</cp:lastModifiedBy>
  <cp:revision>614</cp:revision>
  <dcterms:created xsi:type="dcterms:W3CDTF">2019-08-07T16:42:59Z</dcterms:created>
  <dcterms:modified xsi:type="dcterms:W3CDTF">2026-02-19T07:18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C58F7C1E4D6604AA0092DA78D0E3037</vt:lpwstr>
  </property>
  <property fmtid="{D5CDD505-2E9C-101B-9397-08002B2CF9AE}" pid="3" name="MediaServiceImageTags">
    <vt:lpwstr/>
  </property>
</Properties>
</file>